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5" r:id="rId4"/>
  </p:sldMasterIdLst>
  <p:notesMasterIdLst>
    <p:notesMasterId r:id="rId14"/>
  </p:notesMasterIdLst>
  <p:sldIdLst>
    <p:sldId id="256" r:id="rId5"/>
    <p:sldId id="4110" r:id="rId6"/>
    <p:sldId id="4117" r:id="rId7"/>
    <p:sldId id="397" r:id="rId8"/>
    <p:sldId id="4115" r:id="rId9"/>
    <p:sldId id="4118" r:id="rId10"/>
    <p:sldId id="4112" r:id="rId11"/>
    <p:sldId id="4113" r:id="rId12"/>
    <p:sldId id="260" r:id="rId13"/>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BCAF0A-702A-DDF3-3F60-09AAD46EA474}" name="Shalom Tchokfe Ndoula" initials="STN" userId="Shalom Tchokfe Ndoula" providerId="None"/>
  <p188:author id="{EAA736A8-7287-CDC8-CC3D-FD47A28407E8}" name="Ombline Richard" initials="OR" userId="S::orichard@gavi.org::d6eff9f3-4750-45b3-bd6d-7423bae8e0e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AONGA BA POUTH, Simon Franky" initials="BBPSF" lastIdx="19" clrIdx="0">
    <p:extLst>
      <p:ext uri="{19B8F6BF-5375-455C-9EA6-DF929625EA0E}">
        <p15:presenceInfo xmlns:p15="http://schemas.microsoft.com/office/powerpoint/2012/main" userId="S::baongas@who.int::631c757b-3f0a-411b-a08e-6b8fdcd7b6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F34B2E-59DD-4FE4-BFBA-5AB7B9481F41}" v="2" dt="2024-09-09T11:32:56.844"/>
    <p1510:client id="{5CF87B31-39F5-5641-BD77-62E26841E1EC}" v="46" dt="2024-09-09T18:58:04.2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lom, TCHOKFE NDOULA" userId="c88009a8-976b-40fc-b146-a2199ab798bf" providerId="ADAL" clId="{9BA1A05C-4E55-764C-A8FF-965F25FEC869}"/>
    <pc:docChg chg="custSel modSld">
      <pc:chgData name="Shalom, TCHOKFE NDOULA" userId="c88009a8-976b-40fc-b146-a2199ab798bf" providerId="ADAL" clId="{9BA1A05C-4E55-764C-A8FF-965F25FEC869}" dt="2024-08-12T12:57:07.735" v="473" actId="207"/>
      <pc:docMkLst>
        <pc:docMk/>
      </pc:docMkLst>
      <pc:sldChg chg="addSp delSp modSp mod">
        <pc:chgData name="Shalom, TCHOKFE NDOULA" userId="c88009a8-976b-40fc-b146-a2199ab798bf" providerId="ADAL" clId="{9BA1A05C-4E55-764C-A8FF-965F25FEC869}" dt="2024-08-12T12:37:37.034" v="3" actId="27614"/>
        <pc:sldMkLst>
          <pc:docMk/>
          <pc:sldMk cId="2550800528" sldId="256"/>
        </pc:sldMkLst>
        <pc:spChg chg="add del mod">
          <ac:chgData name="Shalom, TCHOKFE NDOULA" userId="c88009a8-976b-40fc-b146-a2199ab798bf" providerId="ADAL" clId="{9BA1A05C-4E55-764C-A8FF-965F25FEC869}" dt="2024-08-12T12:37:27.007" v="2" actId="931"/>
          <ac:spMkLst>
            <pc:docMk/>
            <pc:sldMk cId="2550800528" sldId="256"/>
            <ac:spMk id="6" creationId="{E0B5F438-275F-583A-6741-7BBB74C57357}"/>
          </ac:spMkLst>
        </pc:spChg>
        <pc:spChg chg="del">
          <ac:chgData name="Shalom, TCHOKFE NDOULA" userId="c88009a8-976b-40fc-b146-a2199ab798bf" providerId="ADAL" clId="{9BA1A05C-4E55-764C-A8FF-965F25FEC869}" dt="2024-08-12T12:31:31.760" v="0" actId="931"/>
          <ac:spMkLst>
            <pc:docMk/>
            <pc:sldMk cId="2550800528" sldId="256"/>
            <ac:spMk id="14" creationId="{B83FE160-85B4-221C-8919-D545DFA02A0C}"/>
          </ac:spMkLst>
        </pc:spChg>
        <pc:picChg chg="add del mod">
          <ac:chgData name="Shalom, TCHOKFE NDOULA" userId="c88009a8-976b-40fc-b146-a2199ab798bf" providerId="ADAL" clId="{9BA1A05C-4E55-764C-A8FF-965F25FEC869}" dt="2024-08-12T12:31:39.880" v="1" actId="478"/>
          <ac:picMkLst>
            <pc:docMk/>
            <pc:sldMk cId="2550800528" sldId="256"/>
            <ac:picMk id="4" creationId="{4FDF659D-C079-32D6-1CB1-7E53BD21F3D6}"/>
          </ac:picMkLst>
        </pc:picChg>
        <pc:picChg chg="add mod">
          <ac:chgData name="Shalom, TCHOKFE NDOULA" userId="c88009a8-976b-40fc-b146-a2199ab798bf" providerId="ADAL" clId="{9BA1A05C-4E55-764C-A8FF-965F25FEC869}" dt="2024-08-12T12:37:37.034" v="3" actId="27614"/>
          <ac:picMkLst>
            <pc:docMk/>
            <pc:sldMk cId="2550800528" sldId="256"/>
            <ac:picMk id="8" creationId="{B34F4541-49E5-B90C-3095-BCAFFDD2344E}"/>
          </ac:picMkLst>
        </pc:picChg>
      </pc:sldChg>
      <pc:sldChg chg="addSp delSp modSp mod">
        <pc:chgData name="Shalom, TCHOKFE NDOULA" userId="c88009a8-976b-40fc-b146-a2199ab798bf" providerId="ADAL" clId="{9BA1A05C-4E55-764C-A8FF-965F25FEC869}" dt="2024-08-12T12:56:52.127" v="470" actId="1076"/>
        <pc:sldMkLst>
          <pc:docMk/>
          <pc:sldMk cId="2598106486" sldId="260"/>
        </pc:sldMkLst>
        <pc:spChg chg="del">
          <ac:chgData name="Shalom, TCHOKFE NDOULA" userId="c88009a8-976b-40fc-b146-a2199ab798bf" providerId="ADAL" clId="{9BA1A05C-4E55-764C-A8FF-965F25FEC869}" dt="2024-08-12T12:47:03.228" v="193" actId="931"/>
          <ac:spMkLst>
            <pc:docMk/>
            <pc:sldMk cId="2598106486" sldId="260"/>
            <ac:spMk id="3" creationId="{CF7F6DCF-145B-1F29-5B06-D057C3FA7DFF}"/>
          </ac:spMkLst>
        </pc:spChg>
        <pc:picChg chg="add mod modCrop">
          <ac:chgData name="Shalom, TCHOKFE NDOULA" userId="c88009a8-976b-40fc-b146-a2199ab798bf" providerId="ADAL" clId="{9BA1A05C-4E55-764C-A8FF-965F25FEC869}" dt="2024-08-12T12:56:52.127" v="470" actId="1076"/>
          <ac:picMkLst>
            <pc:docMk/>
            <pc:sldMk cId="2598106486" sldId="260"/>
            <ac:picMk id="5" creationId="{720F8E3F-5A41-4B34-D5BD-6CE5E4468346}"/>
          </ac:picMkLst>
        </pc:picChg>
      </pc:sldChg>
      <pc:sldChg chg="modSp mod">
        <pc:chgData name="Shalom, TCHOKFE NDOULA" userId="c88009a8-976b-40fc-b146-a2199ab798bf" providerId="ADAL" clId="{9BA1A05C-4E55-764C-A8FF-965F25FEC869}" dt="2024-08-12T12:38:29.252" v="117" actId="403"/>
        <pc:sldMkLst>
          <pc:docMk/>
          <pc:sldMk cId="3412127411" sldId="397"/>
        </pc:sldMkLst>
        <pc:spChg chg="mod">
          <ac:chgData name="Shalom, TCHOKFE NDOULA" userId="c88009a8-976b-40fc-b146-a2199ab798bf" providerId="ADAL" clId="{9BA1A05C-4E55-764C-A8FF-965F25FEC869}" dt="2024-08-12T12:38:29.252" v="117" actId="403"/>
          <ac:spMkLst>
            <pc:docMk/>
            <pc:sldMk cId="3412127411" sldId="397"/>
            <ac:spMk id="2" creationId="{EA9219EC-364B-A3CD-B8BB-A715AFAE0F21}"/>
          </ac:spMkLst>
        </pc:spChg>
      </pc:sldChg>
      <pc:sldChg chg="modSp">
        <pc:chgData name="Shalom, TCHOKFE NDOULA" userId="c88009a8-976b-40fc-b146-a2199ab798bf" providerId="ADAL" clId="{9BA1A05C-4E55-764C-A8FF-965F25FEC869}" dt="2024-08-12T12:57:07.735" v="473" actId="207"/>
        <pc:sldMkLst>
          <pc:docMk/>
          <pc:sldMk cId="30501495" sldId="4110"/>
        </pc:sldMkLst>
        <pc:spChg chg="mod">
          <ac:chgData name="Shalom, TCHOKFE NDOULA" userId="c88009a8-976b-40fc-b146-a2199ab798bf" providerId="ADAL" clId="{9BA1A05C-4E55-764C-A8FF-965F25FEC869}" dt="2024-08-12T12:57:07.735" v="473" actId="207"/>
          <ac:spMkLst>
            <pc:docMk/>
            <pc:sldMk cId="30501495" sldId="4110"/>
            <ac:spMk id="2" creationId="{EA9219EC-364B-A3CD-B8BB-A715AFAE0F21}"/>
          </ac:spMkLst>
        </pc:spChg>
        <pc:graphicFrameChg chg="mod">
          <ac:chgData name="Shalom, TCHOKFE NDOULA" userId="c88009a8-976b-40fc-b146-a2199ab798bf" providerId="ADAL" clId="{9BA1A05C-4E55-764C-A8FF-965F25FEC869}" dt="2024-08-12T12:38:08.991" v="82" actId="313"/>
          <ac:graphicFrameMkLst>
            <pc:docMk/>
            <pc:sldMk cId="30501495" sldId="4110"/>
            <ac:graphicFrameMk id="6" creationId="{97BC46F9-D7FE-6905-7934-AF97A6B77E33}"/>
          </ac:graphicFrameMkLst>
        </pc:graphicFrameChg>
      </pc:sldChg>
      <pc:sldChg chg="modSp mod">
        <pc:chgData name="Shalom, TCHOKFE NDOULA" userId="c88009a8-976b-40fc-b146-a2199ab798bf" providerId="ADAL" clId="{9BA1A05C-4E55-764C-A8FF-965F25FEC869}" dt="2024-08-12T12:38:18.605" v="98" actId="403"/>
        <pc:sldMkLst>
          <pc:docMk/>
          <pc:sldMk cId="1891726289" sldId="4111"/>
        </pc:sldMkLst>
        <pc:spChg chg="mod">
          <ac:chgData name="Shalom, TCHOKFE NDOULA" userId="c88009a8-976b-40fc-b146-a2199ab798bf" providerId="ADAL" clId="{9BA1A05C-4E55-764C-A8FF-965F25FEC869}" dt="2024-08-12T12:38:18.605" v="98" actId="403"/>
          <ac:spMkLst>
            <pc:docMk/>
            <pc:sldMk cId="1891726289" sldId="4111"/>
            <ac:spMk id="2" creationId="{EA9219EC-364B-A3CD-B8BB-A715AFAE0F21}"/>
          </ac:spMkLst>
        </pc:spChg>
      </pc:sldChg>
      <pc:sldChg chg="modSp mod">
        <pc:chgData name="Shalom, TCHOKFE NDOULA" userId="c88009a8-976b-40fc-b146-a2199ab798bf" providerId="ADAL" clId="{9BA1A05C-4E55-764C-A8FF-965F25FEC869}" dt="2024-08-12T12:38:43.244" v="148" actId="403"/>
        <pc:sldMkLst>
          <pc:docMk/>
          <pc:sldMk cId="3017058796" sldId="4112"/>
        </pc:sldMkLst>
        <pc:spChg chg="mod">
          <ac:chgData name="Shalom, TCHOKFE NDOULA" userId="c88009a8-976b-40fc-b146-a2199ab798bf" providerId="ADAL" clId="{9BA1A05C-4E55-764C-A8FF-965F25FEC869}" dt="2024-08-12T12:38:43.244" v="148" actId="403"/>
          <ac:spMkLst>
            <pc:docMk/>
            <pc:sldMk cId="3017058796" sldId="4112"/>
            <ac:spMk id="2" creationId="{EA9219EC-364B-A3CD-B8BB-A715AFAE0F21}"/>
          </ac:spMkLst>
        </pc:spChg>
      </pc:sldChg>
      <pc:sldChg chg="modSp mod">
        <pc:chgData name="Shalom, TCHOKFE NDOULA" userId="c88009a8-976b-40fc-b146-a2199ab798bf" providerId="ADAL" clId="{9BA1A05C-4E55-764C-A8FF-965F25FEC869}" dt="2024-08-12T12:56:59.565" v="471" actId="313"/>
        <pc:sldMkLst>
          <pc:docMk/>
          <pc:sldMk cId="1761220753" sldId="4113"/>
        </pc:sldMkLst>
        <pc:spChg chg="mod">
          <ac:chgData name="Shalom, TCHOKFE NDOULA" userId="c88009a8-976b-40fc-b146-a2199ab798bf" providerId="ADAL" clId="{9BA1A05C-4E55-764C-A8FF-965F25FEC869}" dt="2024-08-12T12:56:59.565" v="471" actId="313"/>
          <ac:spMkLst>
            <pc:docMk/>
            <pc:sldMk cId="1761220753" sldId="4113"/>
            <ac:spMk id="2" creationId="{EA9219EC-364B-A3CD-B8BB-A715AFAE0F21}"/>
          </ac:spMkLst>
        </pc:spChg>
      </pc:sldChg>
    </pc:docChg>
  </pc:docChgLst>
  <pc:docChgLst>
    <pc:chgData name="Eric, MBOKE EKOUM" userId="S::eric.mboke@pevcameroon.cm::232c5b24-b4fa-496f-a662-c55889f8c3a2" providerId="AD" clId="Web-{0272EAEB-73E7-4101-82E2-94C90232D55E}"/>
    <pc:docChg chg="modSld">
      <pc:chgData name="Eric, MBOKE EKOUM" userId="S::eric.mboke@pevcameroon.cm::232c5b24-b4fa-496f-a662-c55889f8c3a2" providerId="AD" clId="Web-{0272EAEB-73E7-4101-82E2-94C90232D55E}" dt="2024-09-07T06:59:18.881" v="16" actId="20577"/>
      <pc:docMkLst>
        <pc:docMk/>
      </pc:docMkLst>
      <pc:sldChg chg="modSp">
        <pc:chgData name="Eric, MBOKE EKOUM" userId="S::eric.mboke@pevcameroon.cm::232c5b24-b4fa-496f-a662-c55889f8c3a2" providerId="AD" clId="Web-{0272EAEB-73E7-4101-82E2-94C90232D55E}" dt="2024-09-07T06:56:42.417" v="8" actId="20577"/>
        <pc:sldMkLst>
          <pc:docMk/>
          <pc:sldMk cId="3412127411" sldId="397"/>
        </pc:sldMkLst>
        <pc:spChg chg="mod">
          <ac:chgData name="Eric, MBOKE EKOUM" userId="S::eric.mboke@pevcameroon.cm::232c5b24-b4fa-496f-a662-c55889f8c3a2" providerId="AD" clId="Web-{0272EAEB-73E7-4101-82E2-94C90232D55E}" dt="2024-09-07T06:56:33.666" v="6" actId="20577"/>
          <ac:spMkLst>
            <pc:docMk/>
            <pc:sldMk cId="3412127411" sldId="397"/>
            <ac:spMk id="13" creationId="{8F1A5AE8-7A40-C22A-78B0-AE1E9D9E8F49}"/>
          </ac:spMkLst>
        </pc:spChg>
        <pc:spChg chg="mod">
          <ac:chgData name="Eric, MBOKE EKOUM" userId="S::eric.mboke@pevcameroon.cm::232c5b24-b4fa-496f-a662-c55889f8c3a2" providerId="AD" clId="Web-{0272EAEB-73E7-4101-82E2-94C90232D55E}" dt="2024-09-07T06:56:42.417" v="8" actId="20577"/>
          <ac:spMkLst>
            <pc:docMk/>
            <pc:sldMk cId="3412127411" sldId="397"/>
            <ac:spMk id="16" creationId="{ADF4DD6F-6D5B-3882-101A-016EA6307AF3}"/>
          </ac:spMkLst>
        </pc:spChg>
      </pc:sldChg>
      <pc:sldChg chg="modSp">
        <pc:chgData name="Eric, MBOKE EKOUM" userId="S::eric.mboke@pevcameroon.cm::232c5b24-b4fa-496f-a662-c55889f8c3a2" providerId="AD" clId="Web-{0272EAEB-73E7-4101-82E2-94C90232D55E}" dt="2024-09-07T06:54:49.224" v="1" actId="20577"/>
        <pc:sldMkLst>
          <pc:docMk/>
          <pc:sldMk cId="1891726289" sldId="4111"/>
        </pc:sldMkLst>
        <pc:spChg chg="mod">
          <ac:chgData name="Eric, MBOKE EKOUM" userId="S::eric.mboke@pevcameroon.cm::232c5b24-b4fa-496f-a662-c55889f8c3a2" providerId="AD" clId="Web-{0272EAEB-73E7-4101-82E2-94C90232D55E}" dt="2024-09-07T06:54:49.224" v="1" actId="20577"/>
          <ac:spMkLst>
            <pc:docMk/>
            <pc:sldMk cId="1891726289" sldId="4111"/>
            <ac:spMk id="3" creationId="{D99C47F6-AFB9-3A13-966B-20CEDD0C1F0B}"/>
          </ac:spMkLst>
        </pc:spChg>
      </pc:sldChg>
      <pc:sldChg chg="modSp">
        <pc:chgData name="Eric, MBOKE EKOUM" userId="S::eric.mboke@pevcameroon.cm::232c5b24-b4fa-496f-a662-c55889f8c3a2" providerId="AD" clId="Web-{0272EAEB-73E7-4101-82E2-94C90232D55E}" dt="2024-09-07T06:57:12.543" v="10" actId="20577"/>
        <pc:sldMkLst>
          <pc:docMk/>
          <pc:sldMk cId="3017058796" sldId="4112"/>
        </pc:sldMkLst>
        <pc:spChg chg="mod">
          <ac:chgData name="Eric, MBOKE EKOUM" userId="S::eric.mboke@pevcameroon.cm::232c5b24-b4fa-496f-a662-c55889f8c3a2" providerId="AD" clId="Web-{0272EAEB-73E7-4101-82E2-94C90232D55E}" dt="2024-09-07T06:57:12.543" v="10" actId="20577"/>
          <ac:spMkLst>
            <pc:docMk/>
            <pc:sldMk cId="3017058796" sldId="4112"/>
            <ac:spMk id="7" creationId="{C6A1C635-5093-20AD-0602-C23DAC06E73B}"/>
          </ac:spMkLst>
        </pc:spChg>
      </pc:sldChg>
      <pc:sldChg chg="modSp">
        <pc:chgData name="Eric, MBOKE EKOUM" userId="S::eric.mboke@pevcameroon.cm::232c5b24-b4fa-496f-a662-c55889f8c3a2" providerId="AD" clId="Web-{0272EAEB-73E7-4101-82E2-94C90232D55E}" dt="2024-09-07T06:59:18.881" v="16" actId="20577"/>
        <pc:sldMkLst>
          <pc:docMk/>
          <pc:sldMk cId="1761220753" sldId="4113"/>
        </pc:sldMkLst>
        <pc:spChg chg="mod">
          <ac:chgData name="Eric, MBOKE EKOUM" userId="S::eric.mboke@pevcameroon.cm::232c5b24-b4fa-496f-a662-c55889f8c3a2" providerId="AD" clId="Web-{0272EAEB-73E7-4101-82E2-94C90232D55E}" dt="2024-09-07T06:59:18.881" v="16" actId="20577"/>
          <ac:spMkLst>
            <pc:docMk/>
            <pc:sldMk cId="1761220753" sldId="4113"/>
            <ac:spMk id="3" creationId="{305AA706-968A-E5B2-FA39-A8173B357266}"/>
          </ac:spMkLst>
        </pc:spChg>
      </pc:sldChg>
      <pc:sldChg chg="modSp">
        <pc:chgData name="Eric, MBOKE EKOUM" userId="S::eric.mboke@pevcameroon.cm::232c5b24-b4fa-496f-a662-c55889f8c3a2" providerId="AD" clId="Web-{0272EAEB-73E7-4101-82E2-94C90232D55E}" dt="2024-09-07T06:56:16.666" v="4" actId="20577"/>
        <pc:sldMkLst>
          <pc:docMk/>
          <pc:sldMk cId="2524902547" sldId="4114"/>
        </pc:sldMkLst>
        <pc:spChg chg="mod">
          <ac:chgData name="Eric, MBOKE EKOUM" userId="S::eric.mboke@pevcameroon.cm::232c5b24-b4fa-496f-a662-c55889f8c3a2" providerId="AD" clId="Web-{0272EAEB-73E7-4101-82E2-94C90232D55E}" dt="2024-09-07T06:56:16.666" v="4" actId="20577"/>
          <ac:spMkLst>
            <pc:docMk/>
            <pc:sldMk cId="2524902547" sldId="4114"/>
            <ac:spMk id="3" creationId="{D99C47F6-AFB9-3A13-966B-20CEDD0C1F0B}"/>
          </ac:spMkLst>
        </pc:spChg>
      </pc:sldChg>
    </pc:docChg>
  </pc:docChgLst>
  <pc:docChgLst>
    <pc:chgData name="Raoul, NEMBOT" userId="6faadeba-8662-4f98-936f-76fa088bfa86" providerId="ADAL" clId="{A380F8A8-A69B-4D75-A9BE-4C10A764E973}"/>
    <pc:docChg chg="custSel modSld">
      <pc:chgData name="Raoul, NEMBOT" userId="6faadeba-8662-4f98-936f-76fa088bfa86" providerId="ADAL" clId="{A380F8A8-A69B-4D75-A9BE-4C10A764E973}" dt="2024-08-26T16:55:29.878" v="1052" actId="108"/>
      <pc:docMkLst>
        <pc:docMk/>
      </pc:docMkLst>
      <pc:sldChg chg="modSp mod">
        <pc:chgData name="Raoul, NEMBOT" userId="6faadeba-8662-4f98-936f-76fa088bfa86" providerId="ADAL" clId="{A380F8A8-A69B-4D75-A9BE-4C10A764E973}" dt="2024-08-26T16:54:35.704" v="1049" actId="33524"/>
        <pc:sldMkLst>
          <pc:docMk/>
          <pc:sldMk cId="3412127411" sldId="397"/>
        </pc:sldMkLst>
        <pc:spChg chg="mod">
          <ac:chgData name="Raoul, NEMBOT" userId="6faadeba-8662-4f98-936f-76fa088bfa86" providerId="ADAL" clId="{A380F8A8-A69B-4D75-A9BE-4C10A764E973}" dt="2024-08-26T16:53:39.428" v="1000" actId="12"/>
          <ac:spMkLst>
            <pc:docMk/>
            <pc:sldMk cId="3412127411" sldId="397"/>
            <ac:spMk id="13" creationId="{8F1A5AE8-7A40-C22A-78B0-AE1E9D9E8F49}"/>
          </ac:spMkLst>
        </pc:spChg>
        <pc:spChg chg="mod">
          <ac:chgData name="Raoul, NEMBOT" userId="6faadeba-8662-4f98-936f-76fa088bfa86" providerId="ADAL" clId="{A380F8A8-A69B-4D75-A9BE-4C10A764E973}" dt="2024-08-26T16:54:35.704" v="1049" actId="33524"/>
          <ac:spMkLst>
            <pc:docMk/>
            <pc:sldMk cId="3412127411" sldId="397"/>
            <ac:spMk id="16" creationId="{ADF4DD6F-6D5B-3882-101A-016EA6307AF3}"/>
          </ac:spMkLst>
        </pc:spChg>
      </pc:sldChg>
      <pc:sldChg chg="modSp mod">
        <pc:chgData name="Raoul, NEMBOT" userId="6faadeba-8662-4f98-936f-76fa088bfa86" providerId="ADAL" clId="{A380F8A8-A69B-4D75-A9BE-4C10A764E973}" dt="2024-08-26T16:43:14.200" v="508" actId="20577"/>
        <pc:sldMkLst>
          <pc:docMk/>
          <pc:sldMk cId="1891726289" sldId="4111"/>
        </pc:sldMkLst>
        <pc:spChg chg="mod">
          <ac:chgData name="Raoul, NEMBOT" userId="6faadeba-8662-4f98-936f-76fa088bfa86" providerId="ADAL" clId="{A380F8A8-A69B-4D75-A9BE-4C10A764E973}" dt="2024-08-26T16:43:14.200" v="508" actId="20577"/>
          <ac:spMkLst>
            <pc:docMk/>
            <pc:sldMk cId="1891726289" sldId="4111"/>
            <ac:spMk id="3" creationId="{D99C47F6-AFB9-3A13-966B-20CEDD0C1F0B}"/>
          </ac:spMkLst>
        </pc:spChg>
      </pc:sldChg>
      <pc:sldChg chg="modSp mod">
        <pc:chgData name="Raoul, NEMBOT" userId="6faadeba-8662-4f98-936f-76fa088bfa86" providerId="ADAL" clId="{A380F8A8-A69B-4D75-A9BE-4C10A764E973}" dt="2024-08-26T16:55:29.878" v="1052" actId="108"/>
        <pc:sldMkLst>
          <pc:docMk/>
          <pc:sldMk cId="3017058796" sldId="4112"/>
        </pc:sldMkLst>
        <pc:spChg chg="mod">
          <ac:chgData name="Raoul, NEMBOT" userId="6faadeba-8662-4f98-936f-76fa088bfa86" providerId="ADAL" clId="{A380F8A8-A69B-4D75-A9BE-4C10A764E973}" dt="2024-08-26T16:55:29.878" v="1052" actId="108"/>
          <ac:spMkLst>
            <pc:docMk/>
            <pc:sldMk cId="3017058796" sldId="4112"/>
            <ac:spMk id="7" creationId="{C6A1C635-5093-20AD-0602-C23DAC06E73B}"/>
          </ac:spMkLst>
        </pc:spChg>
      </pc:sldChg>
      <pc:sldChg chg="modSp mod">
        <pc:chgData name="Raoul, NEMBOT" userId="6faadeba-8662-4f98-936f-76fa088bfa86" providerId="ADAL" clId="{A380F8A8-A69B-4D75-A9BE-4C10A764E973}" dt="2024-08-26T16:50:45.940" v="874" actId="20577"/>
        <pc:sldMkLst>
          <pc:docMk/>
          <pc:sldMk cId="1761220753" sldId="4113"/>
        </pc:sldMkLst>
        <pc:spChg chg="mod">
          <ac:chgData name="Raoul, NEMBOT" userId="6faadeba-8662-4f98-936f-76fa088bfa86" providerId="ADAL" clId="{A380F8A8-A69B-4D75-A9BE-4C10A764E973}" dt="2024-08-26T16:50:45.940" v="874" actId="20577"/>
          <ac:spMkLst>
            <pc:docMk/>
            <pc:sldMk cId="1761220753" sldId="4113"/>
            <ac:spMk id="5" creationId="{681E9C36-CAC0-FCF1-67E6-9FD2BA89028B}"/>
          </ac:spMkLst>
        </pc:spChg>
      </pc:sldChg>
    </pc:docChg>
  </pc:docChgLst>
  <pc:docChgLst>
    <pc:chgData name="Shalom, TCHOKFE NDOULA" userId="c88009a8-976b-40fc-b146-a2199ab798bf" providerId="ADAL" clId="{5CF87B31-39F5-5641-BD77-62E26841E1EC}"/>
    <pc:docChg chg="modSld">
      <pc:chgData name="Shalom, TCHOKFE NDOULA" userId="c88009a8-976b-40fc-b146-a2199ab798bf" providerId="ADAL" clId="{5CF87B31-39F5-5641-BD77-62E26841E1EC}" dt="2024-09-09T18:58:04.222" v="45" actId="404"/>
      <pc:docMkLst>
        <pc:docMk/>
      </pc:docMkLst>
      <pc:sldChg chg="modSp mod">
        <pc:chgData name="Shalom, TCHOKFE NDOULA" userId="c88009a8-976b-40fc-b146-a2199ab798bf" providerId="ADAL" clId="{5CF87B31-39F5-5641-BD77-62E26841E1EC}" dt="2024-09-09T18:56:35.019" v="2" actId="15"/>
        <pc:sldMkLst>
          <pc:docMk/>
          <pc:sldMk cId="3412127411" sldId="397"/>
        </pc:sldMkLst>
        <pc:spChg chg="mod">
          <ac:chgData name="Shalom, TCHOKFE NDOULA" userId="c88009a8-976b-40fc-b146-a2199ab798bf" providerId="ADAL" clId="{5CF87B31-39F5-5641-BD77-62E26841E1EC}" dt="2024-09-09T18:56:26.602" v="0" actId="15"/>
          <ac:spMkLst>
            <pc:docMk/>
            <pc:sldMk cId="3412127411" sldId="397"/>
            <ac:spMk id="13" creationId="{8F1A5AE8-7A40-C22A-78B0-AE1E9D9E8F49}"/>
          </ac:spMkLst>
        </pc:spChg>
        <pc:spChg chg="mod">
          <ac:chgData name="Shalom, TCHOKFE NDOULA" userId="c88009a8-976b-40fc-b146-a2199ab798bf" providerId="ADAL" clId="{5CF87B31-39F5-5641-BD77-62E26841E1EC}" dt="2024-09-09T18:56:30.357" v="1" actId="15"/>
          <ac:spMkLst>
            <pc:docMk/>
            <pc:sldMk cId="3412127411" sldId="397"/>
            <ac:spMk id="16" creationId="{ADF4DD6F-6D5B-3882-101A-016EA6307AF3}"/>
          </ac:spMkLst>
        </pc:spChg>
        <pc:spChg chg="mod">
          <ac:chgData name="Shalom, TCHOKFE NDOULA" userId="c88009a8-976b-40fc-b146-a2199ab798bf" providerId="ADAL" clId="{5CF87B31-39F5-5641-BD77-62E26841E1EC}" dt="2024-09-09T18:56:35.019" v="2" actId="15"/>
          <ac:spMkLst>
            <pc:docMk/>
            <pc:sldMk cId="3412127411" sldId="397"/>
            <ac:spMk id="17" creationId="{11788353-4040-E160-F1BD-A7DB9042654D}"/>
          </ac:spMkLst>
        </pc:spChg>
      </pc:sldChg>
      <pc:sldChg chg="modSp mod">
        <pc:chgData name="Shalom, TCHOKFE NDOULA" userId="c88009a8-976b-40fc-b146-a2199ab798bf" providerId="ADAL" clId="{5CF87B31-39F5-5641-BD77-62E26841E1EC}" dt="2024-09-09T18:58:04.222" v="45" actId="404"/>
        <pc:sldMkLst>
          <pc:docMk/>
          <pc:sldMk cId="2107437928" sldId="4115"/>
        </pc:sldMkLst>
        <pc:spChg chg="mod">
          <ac:chgData name="Shalom, TCHOKFE NDOULA" userId="c88009a8-976b-40fc-b146-a2199ab798bf" providerId="ADAL" clId="{5CF87B31-39F5-5641-BD77-62E26841E1EC}" dt="2024-09-09T18:56:42.985" v="3" actId="1076"/>
          <ac:spMkLst>
            <pc:docMk/>
            <pc:sldMk cId="2107437928" sldId="4115"/>
            <ac:spMk id="9" creationId="{BC530A92-9311-E45A-FF13-0818090BBB9A}"/>
          </ac:spMkLst>
        </pc:spChg>
        <pc:spChg chg="mod">
          <ac:chgData name="Shalom, TCHOKFE NDOULA" userId="c88009a8-976b-40fc-b146-a2199ab798bf" providerId="ADAL" clId="{5CF87B31-39F5-5641-BD77-62E26841E1EC}" dt="2024-09-09T18:58:04.222" v="45" actId="404"/>
          <ac:spMkLst>
            <pc:docMk/>
            <pc:sldMk cId="2107437928" sldId="4115"/>
            <ac:spMk id="23" creationId="{F7AF8A7E-5666-A08E-DFC3-8A5CF212A943}"/>
          </ac:spMkLst>
        </pc:spChg>
        <pc:spChg chg="mod">
          <ac:chgData name="Shalom, TCHOKFE NDOULA" userId="c88009a8-976b-40fc-b146-a2199ab798bf" providerId="ADAL" clId="{5CF87B31-39F5-5641-BD77-62E26841E1EC}" dt="2024-09-09T18:57:03.508" v="8" actId="14100"/>
          <ac:spMkLst>
            <pc:docMk/>
            <pc:sldMk cId="2107437928" sldId="4115"/>
            <ac:spMk id="28" creationId="{9A72BC17-5FB8-C600-8B14-A2DF307786FE}"/>
          </ac:spMkLst>
        </pc:spChg>
        <pc:spChg chg="mod">
          <ac:chgData name="Shalom, TCHOKFE NDOULA" userId="c88009a8-976b-40fc-b146-a2199ab798bf" providerId="ADAL" clId="{5CF87B31-39F5-5641-BD77-62E26841E1EC}" dt="2024-09-09T18:57:59.697" v="44" actId="1076"/>
          <ac:spMkLst>
            <pc:docMk/>
            <pc:sldMk cId="2107437928" sldId="4115"/>
            <ac:spMk id="29" creationId="{4037B6D7-2CC1-3476-3BAA-9D42BFFFD1E5}"/>
          </ac:spMkLst>
        </pc:spChg>
      </pc:sldChg>
    </pc:docChg>
  </pc:docChgLst>
  <pc:docChgLst>
    <pc:chgData name="Mariette, DIA" userId="S::mdia_who.int#ext#@pevcam.onmicrosoft.com::adcc19f3-2d1c-4db5-8b54-19d04ef07018" providerId="AD" clId="Web-{78C7F759-6D6E-43B0-BE41-9512A32A3A8B}"/>
    <pc:docChg chg="modSld">
      <pc:chgData name="Mariette, DIA" userId="S::mdia_who.int#ext#@pevcam.onmicrosoft.com::adcc19f3-2d1c-4db5-8b54-19d04ef07018" providerId="AD" clId="Web-{78C7F759-6D6E-43B0-BE41-9512A32A3A8B}" dt="2024-08-14T12:59:46.675" v="16" actId="20577"/>
      <pc:docMkLst>
        <pc:docMk/>
      </pc:docMkLst>
      <pc:sldChg chg="modSp">
        <pc:chgData name="Mariette, DIA" userId="S::mdia_who.int#ext#@pevcam.onmicrosoft.com::adcc19f3-2d1c-4db5-8b54-19d04ef07018" providerId="AD" clId="Web-{78C7F759-6D6E-43B0-BE41-9512A32A3A8B}" dt="2024-08-14T12:59:46.675" v="16" actId="20577"/>
        <pc:sldMkLst>
          <pc:docMk/>
          <pc:sldMk cId="3412127411" sldId="397"/>
        </pc:sldMkLst>
        <pc:spChg chg="mod">
          <ac:chgData name="Mariette, DIA" userId="S::mdia_who.int#ext#@pevcam.onmicrosoft.com::adcc19f3-2d1c-4db5-8b54-19d04ef07018" providerId="AD" clId="Web-{78C7F759-6D6E-43B0-BE41-9512A32A3A8B}" dt="2024-08-14T12:59:46.675" v="16" actId="20577"/>
          <ac:spMkLst>
            <pc:docMk/>
            <pc:sldMk cId="3412127411" sldId="397"/>
            <ac:spMk id="13" creationId="{8F1A5AE8-7A40-C22A-78B0-AE1E9D9E8F49}"/>
          </ac:spMkLst>
        </pc:spChg>
      </pc:sldChg>
    </pc:docChg>
  </pc:docChgLst>
  <pc:docChgLst>
    <pc:chgData name="Raoul, NEMBOT" userId="6faadeba-8662-4f98-936f-76fa088bfa86" providerId="ADAL" clId="{07043164-7562-2446-A5FA-4DDCE02633F4}"/>
    <pc:docChg chg="undo redo custSel addSld delSld modSld sldOrd addSection delSection">
      <pc:chgData name="Raoul, NEMBOT" userId="6faadeba-8662-4f98-936f-76fa088bfa86" providerId="ADAL" clId="{07043164-7562-2446-A5FA-4DDCE02633F4}" dt="2024-09-07T09:40:06.047" v="1928" actId="20577"/>
      <pc:docMkLst>
        <pc:docMk/>
      </pc:docMkLst>
      <pc:sldChg chg="modSp mod">
        <pc:chgData name="Raoul, NEMBOT" userId="6faadeba-8662-4f98-936f-76fa088bfa86" providerId="ADAL" clId="{07043164-7562-2446-A5FA-4DDCE02633F4}" dt="2024-09-07T09:40:06.047" v="1928" actId="20577"/>
        <pc:sldMkLst>
          <pc:docMk/>
          <pc:sldMk cId="3412127411" sldId="397"/>
        </pc:sldMkLst>
        <pc:spChg chg="mod">
          <ac:chgData name="Raoul, NEMBOT" userId="6faadeba-8662-4f98-936f-76fa088bfa86" providerId="ADAL" clId="{07043164-7562-2446-A5FA-4DDCE02633F4}" dt="2024-09-07T09:39:28.793" v="1880" actId="113"/>
          <ac:spMkLst>
            <pc:docMk/>
            <pc:sldMk cId="3412127411" sldId="397"/>
            <ac:spMk id="16" creationId="{ADF4DD6F-6D5B-3882-101A-016EA6307AF3}"/>
          </ac:spMkLst>
        </pc:spChg>
        <pc:spChg chg="mod">
          <ac:chgData name="Raoul, NEMBOT" userId="6faadeba-8662-4f98-936f-76fa088bfa86" providerId="ADAL" clId="{07043164-7562-2446-A5FA-4DDCE02633F4}" dt="2024-09-07T09:40:06.047" v="1928" actId="20577"/>
          <ac:spMkLst>
            <pc:docMk/>
            <pc:sldMk cId="3412127411" sldId="397"/>
            <ac:spMk id="17" creationId="{11788353-4040-E160-F1BD-A7DB9042654D}"/>
          </ac:spMkLst>
        </pc:spChg>
      </pc:sldChg>
      <pc:sldChg chg="modSp del mod">
        <pc:chgData name="Raoul, NEMBOT" userId="6faadeba-8662-4f98-936f-76fa088bfa86" providerId="ADAL" clId="{07043164-7562-2446-A5FA-4DDCE02633F4}" dt="2024-09-07T07:12:03.177" v="830" actId="2696"/>
        <pc:sldMkLst>
          <pc:docMk/>
          <pc:sldMk cId="1891726289" sldId="4111"/>
        </pc:sldMkLst>
        <pc:spChg chg="mod">
          <ac:chgData name="Raoul, NEMBOT" userId="6faadeba-8662-4f98-936f-76fa088bfa86" providerId="ADAL" clId="{07043164-7562-2446-A5FA-4DDCE02633F4}" dt="2024-09-07T07:06:50.081" v="698" actId="21"/>
          <ac:spMkLst>
            <pc:docMk/>
            <pc:sldMk cId="1891726289" sldId="4111"/>
            <ac:spMk id="3" creationId="{D99C47F6-AFB9-3A13-966B-20CEDD0C1F0B}"/>
          </ac:spMkLst>
        </pc:spChg>
      </pc:sldChg>
      <pc:sldChg chg="modSp mod modNotesTx">
        <pc:chgData name="Raoul, NEMBOT" userId="6faadeba-8662-4f98-936f-76fa088bfa86" providerId="ADAL" clId="{07043164-7562-2446-A5FA-4DDCE02633F4}" dt="2024-09-07T09:30:56.884" v="1680" actId="20577"/>
        <pc:sldMkLst>
          <pc:docMk/>
          <pc:sldMk cId="3017058796" sldId="4112"/>
        </pc:sldMkLst>
        <pc:spChg chg="mod">
          <ac:chgData name="Raoul, NEMBOT" userId="6faadeba-8662-4f98-936f-76fa088bfa86" providerId="ADAL" clId="{07043164-7562-2446-A5FA-4DDCE02633F4}" dt="2024-09-07T09:06:08.572" v="1575" actId="20577"/>
          <ac:spMkLst>
            <pc:docMk/>
            <pc:sldMk cId="3017058796" sldId="4112"/>
            <ac:spMk id="3" creationId="{FFB11201-CD09-1332-BB9A-777B81A47BF8}"/>
          </ac:spMkLst>
        </pc:spChg>
        <pc:spChg chg="mod">
          <ac:chgData name="Raoul, NEMBOT" userId="6faadeba-8662-4f98-936f-76fa088bfa86" providerId="ADAL" clId="{07043164-7562-2446-A5FA-4DDCE02633F4}" dt="2024-09-07T09:30:56.884" v="1680" actId="20577"/>
          <ac:spMkLst>
            <pc:docMk/>
            <pc:sldMk cId="3017058796" sldId="4112"/>
            <ac:spMk id="5" creationId="{F8224E11-0E48-435E-5C77-6AAEE0F2B7F0}"/>
          </ac:spMkLst>
        </pc:spChg>
        <pc:spChg chg="mod">
          <ac:chgData name="Raoul, NEMBOT" userId="6faadeba-8662-4f98-936f-76fa088bfa86" providerId="ADAL" clId="{07043164-7562-2446-A5FA-4DDCE02633F4}" dt="2024-09-07T09:04:45.826" v="1551" actId="20577"/>
          <ac:spMkLst>
            <pc:docMk/>
            <pc:sldMk cId="3017058796" sldId="4112"/>
            <ac:spMk id="6" creationId="{547A8CA8-F598-A91C-7489-D61C6EFF8A0D}"/>
          </ac:spMkLst>
        </pc:spChg>
        <pc:spChg chg="mod">
          <ac:chgData name="Raoul, NEMBOT" userId="6faadeba-8662-4f98-936f-76fa088bfa86" providerId="ADAL" clId="{07043164-7562-2446-A5FA-4DDCE02633F4}" dt="2024-09-07T09:28:54.921" v="1629" actId="20577"/>
          <ac:spMkLst>
            <pc:docMk/>
            <pc:sldMk cId="3017058796" sldId="4112"/>
            <ac:spMk id="7" creationId="{C6A1C635-5093-20AD-0602-C23DAC06E73B}"/>
          </ac:spMkLst>
        </pc:spChg>
      </pc:sldChg>
      <pc:sldChg chg="modSp mod">
        <pc:chgData name="Raoul, NEMBOT" userId="6faadeba-8662-4f98-936f-76fa088bfa86" providerId="ADAL" clId="{07043164-7562-2446-A5FA-4DDCE02633F4}" dt="2024-09-06T18:05:19.835" v="635" actId="20577"/>
        <pc:sldMkLst>
          <pc:docMk/>
          <pc:sldMk cId="1761220753" sldId="4113"/>
        </pc:sldMkLst>
        <pc:spChg chg="mod">
          <ac:chgData name="Raoul, NEMBOT" userId="6faadeba-8662-4f98-936f-76fa088bfa86" providerId="ADAL" clId="{07043164-7562-2446-A5FA-4DDCE02633F4}" dt="2024-09-06T18:05:19.835" v="635" actId="20577"/>
          <ac:spMkLst>
            <pc:docMk/>
            <pc:sldMk cId="1761220753" sldId="4113"/>
            <ac:spMk id="3" creationId="{305AA706-968A-E5B2-FA39-A8173B357266}"/>
          </ac:spMkLst>
        </pc:spChg>
      </pc:sldChg>
      <pc:sldChg chg="addSp delSp modSp del mod">
        <pc:chgData name="Raoul, NEMBOT" userId="6faadeba-8662-4f98-936f-76fa088bfa86" providerId="ADAL" clId="{07043164-7562-2446-A5FA-4DDCE02633F4}" dt="2024-09-07T07:12:04.732" v="831" actId="2696"/>
        <pc:sldMkLst>
          <pc:docMk/>
          <pc:sldMk cId="2524902547" sldId="4114"/>
        </pc:sldMkLst>
        <pc:spChg chg="add del mod">
          <ac:chgData name="Raoul, NEMBOT" userId="6faadeba-8662-4f98-936f-76fa088bfa86" providerId="ADAL" clId="{07043164-7562-2446-A5FA-4DDCE02633F4}" dt="2024-09-07T07:04:57.945" v="692" actId="21"/>
          <ac:spMkLst>
            <pc:docMk/>
            <pc:sldMk cId="2524902547" sldId="4114"/>
            <ac:spMk id="3" creationId="{D99C47F6-AFB9-3A13-966B-20CEDD0C1F0B}"/>
          </ac:spMkLst>
        </pc:spChg>
        <pc:spChg chg="add del mod">
          <ac:chgData name="Raoul, NEMBOT" userId="6faadeba-8662-4f98-936f-76fa088bfa86" providerId="ADAL" clId="{07043164-7562-2446-A5FA-4DDCE02633F4}" dt="2024-09-07T07:04:57.945" v="692" actId="21"/>
          <ac:spMkLst>
            <pc:docMk/>
            <pc:sldMk cId="2524902547" sldId="4114"/>
            <ac:spMk id="6" creationId="{5B8C6959-2DBA-42B6-1409-B5AA8152015D}"/>
          </ac:spMkLst>
        </pc:spChg>
      </pc:sldChg>
      <pc:sldChg chg="addSp delSp modSp mod">
        <pc:chgData name="Raoul, NEMBOT" userId="6faadeba-8662-4f98-936f-76fa088bfa86" providerId="ADAL" clId="{07043164-7562-2446-A5FA-4DDCE02633F4}" dt="2024-09-07T09:04:01.419" v="1540" actId="20577"/>
        <pc:sldMkLst>
          <pc:docMk/>
          <pc:sldMk cId="2107437928" sldId="4115"/>
        </pc:sldMkLst>
        <pc:spChg chg="add mod">
          <ac:chgData name="Raoul, NEMBOT" userId="6faadeba-8662-4f98-936f-76fa088bfa86" providerId="ADAL" clId="{07043164-7562-2446-A5FA-4DDCE02633F4}" dt="2024-09-07T08:52:27.963" v="1370" actId="1036"/>
          <ac:spMkLst>
            <pc:docMk/>
            <pc:sldMk cId="2107437928" sldId="4115"/>
            <ac:spMk id="5" creationId="{427F653E-8E00-43DB-D1A7-F408C3902721}"/>
          </ac:spMkLst>
        </pc:spChg>
        <pc:spChg chg="add mod">
          <ac:chgData name="Raoul, NEMBOT" userId="6faadeba-8662-4f98-936f-76fa088bfa86" providerId="ADAL" clId="{07043164-7562-2446-A5FA-4DDCE02633F4}" dt="2024-09-07T08:52:27.963" v="1370" actId="1036"/>
          <ac:spMkLst>
            <pc:docMk/>
            <pc:sldMk cId="2107437928" sldId="4115"/>
            <ac:spMk id="6" creationId="{ECB72F0A-70D1-4693-B82F-602A666416A3}"/>
          </ac:spMkLst>
        </pc:spChg>
        <pc:spChg chg="mod">
          <ac:chgData name="Raoul, NEMBOT" userId="6faadeba-8662-4f98-936f-76fa088bfa86" providerId="ADAL" clId="{07043164-7562-2446-A5FA-4DDCE02633F4}" dt="2024-09-07T07:12:22.026" v="849" actId="20577"/>
          <ac:spMkLst>
            <pc:docMk/>
            <pc:sldMk cId="2107437928" sldId="4115"/>
            <ac:spMk id="7" creationId="{1DCF4F83-6BF7-F5BD-08B8-A0D4DE14DA3F}"/>
          </ac:spMkLst>
        </pc:spChg>
        <pc:spChg chg="del mod">
          <ac:chgData name="Raoul, NEMBOT" userId="6faadeba-8662-4f98-936f-76fa088bfa86" providerId="ADAL" clId="{07043164-7562-2446-A5FA-4DDCE02633F4}" dt="2024-09-06T18:27:58.772" v="680" actId="478"/>
          <ac:spMkLst>
            <pc:docMk/>
            <pc:sldMk cId="2107437928" sldId="4115"/>
            <ac:spMk id="8" creationId="{A96F828F-650C-B911-0AD2-596BA9F3F51B}"/>
          </ac:spMkLst>
        </pc:spChg>
        <pc:spChg chg="add del mod">
          <ac:chgData name="Raoul, NEMBOT" userId="6faadeba-8662-4f98-936f-76fa088bfa86" providerId="ADAL" clId="{07043164-7562-2446-A5FA-4DDCE02633F4}" dt="2024-09-07T07:41:59.080" v="925" actId="478"/>
          <ac:spMkLst>
            <pc:docMk/>
            <pc:sldMk cId="2107437928" sldId="4115"/>
            <ac:spMk id="9" creationId="{17ACE48D-85DB-1F7D-AB7F-FB1A569B066A}"/>
          </ac:spMkLst>
        </pc:spChg>
        <pc:spChg chg="add mod">
          <ac:chgData name="Raoul, NEMBOT" userId="6faadeba-8662-4f98-936f-76fa088bfa86" providerId="ADAL" clId="{07043164-7562-2446-A5FA-4DDCE02633F4}" dt="2024-09-07T08:52:27.963" v="1370" actId="1036"/>
          <ac:spMkLst>
            <pc:docMk/>
            <pc:sldMk cId="2107437928" sldId="4115"/>
            <ac:spMk id="10" creationId="{8A68E2B3-659E-02A6-0DE8-257529D89183}"/>
          </ac:spMkLst>
        </pc:spChg>
        <pc:spChg chg="add del mod">
          <ac:chgData name="Raoul, NEMBOT" userId="6faadeba-8662-4f98-936f-76fa088bfa86" providerId="ADAL" clId="{07043164-7562-2446-A5FA-4DDCE02633F4}" dt="2024-09-07T08:00:32.626" v="983" actId="478"/>
          <ac:spMkLst>
            <pc:docMk/>
            <pc:sldMk cId="2107437928" sldId="4115"/>
            <ac:spMk id="11" creationId="{9A6997B1-D88A-6561-75F6-A53A3D52BCDD}"/>
          </ac:spMkLst>
        </pc:spChg>
        <pc:spChg chg="add mod">
          <ac:chgData name="Raoul, NEMBOT" userId="6faadeba-8662-4f98-936f-76fa088bfa86" providerId="ADAL" clId="{07043164-7562-2446-A5FA-4DDCE02633F4}" dt="2024-09-07T08:52:27.963" v="1370" actId="1036"/>
          <ac:spMkLst>
            <pc:docMk/>
            <pc:sldMk cId="2107437928" sldId="4115"/>
            <ac:spMk id="12" creationId="{C8777A1D-C8AF-E1EF-E0E4-854034547602}"/>
          </ac:spMkLst>
        </pc:spChg>
        <pc:spChg chg="add mod">
          <ac:chgData name="Raoul, NEMBOT" userId="6faadeba-8662-4f98-936f-76fa088bfa86" providerId="ADAL" clId="{07043164-7562-2446-A5FA-4DDCE02633F4}" dt="2024-09-07T08:52:27.963" v="1370" actId="1036"/>
          <ac:spMkLst>
            <pc:docMk/>
            <pc:sldMk cId="2107437928" sldId="4115"/>
            <ac:spMk id="13" creationId="{11904D91-C281-BEC7-D7A7-1D7F921D2490}"/>
          </ac:spMkLst>
        </pc:spChg>
        <pc:spChg chg="add mod">
          <ac:chgData name="Raoul, NEMBOT" userId="6faadeba-8662-4f98-936f-76fa088bfa86" providerId="ADAL" clId="{07043164-7562-2446-A5FA-4DDCE02633F4}" dt="2024-09-07T08:52:27.963" v="1370" actId="1036"/>
          <ac:spMkLst>
            <pc:docMk/>
            <pc:sldMk cId="2107437928" sldId="4115"/>
            <ac:spMk id="14" creationId="{683EFA63-2DF1-B492-03C1-47A305964E10}"/>
          </ac:spMkLst>
        </pc:spChg>
        <pc:spChg chg="add mod">
          <ac:chgData name="Raoul, NEMBOT" userId="6faadeba-8662-4f98-936f-76fa088bfa86" providerId="ADAL" clId="{07043164-7562-2446-A5FA-4DDCE02633F4}" dt="2024-09-07T08:52:27.963" v="1370" actId="1036"/>
          <ac:spMkLst>
            <pc:docMk/>
            <pc:sldMk cId="2107437928" sldId="4115"/>
            <ac:spMk id="15" creationId="{7473B53F-E7F6-DA38-891E-F2191DD87336}"/>
          </ac:spMkLst>
        </pc:spChg>
        <pc:spChg chg="add mod">
          <ac:chgData name="Raoul, NEMBOT" userId="6faadeba-8662-4f98-936f-76fa088bfa86" providerId="ADAL" clId="{07043164-7562-2446-A5FA-4DDCE02633F4}" dt="2024-09-07T08:52:27.963" v="1370" actId="1036"/>
          <ac:spMkLst>
            <pc:docMk/>
            <pc:sldMk cId="2107437928" sldId="4115"/>
            <ac:spMk id="16" creationId="{35BF42DD-B77D-8932-A9F0-F3E2402FB28B}"/>
          </ac:spMkLst>
        </pc:spChg>
        <pc:spChg chg="add mod">
          <ac:chgData name="Raoul, NEMBOT" userId="6faadeba-8662-4f98-936f-76fa088bfa86" providerId="ADAL" clId="{07043164-7562-2446-A5FA-4DDCE02633F4}" dt="2024-09-07T08:52:44.562" v="1399" actId="1036"/>
          <ac:spMkLst>
            <pc:docMk/>
            <pc:sldMk cId="2107437928" sldId="4115"/>
            <ac:spMk id="17" creationId="{E8D976E9-9039-0DB8-9B0B-36759ADBE12A}"/>
          </ac:spMkLst>
        </pc:spChg>
        <pc:spChg chg="add mod">
          <ac:chgData name="Raoul, NEMBOT" userId="6faadeba-8662-4f98-936f-76fa088bfa86" providerId="ADAL" clId="{07043164-7562-2446-A5FA-4DDCE02633F4}" dt="2024-09-07T08:52:44.562" v="1399" actId="1036"/>
          <ac:spMkLst>
            <pc:docMk/>
            <pc:sldMk cId="2107437928" sldId="4115"/>
            <ac:spMk id="18" creationId="{13E9EB56-2B9D-DEA6-7C1B-2FCE0577788C}"/>
          </ac:spMkLst>
        </pc:spChg>
        <pc:spChg chg="add mod">
          <ac:chgData name="Raoul, NEMBOT" userId="6faadeba-8662-4f98-936f-76fa088bfa86" providerId="ADAL" clId="{07043164-7562-2446-A5FA-4DDCE02633F4}" dt="2024-09-07T08:52:44.562" v="1399" actId="1036"/>
          <ac:spMkLst>
            <pc:docMk/>
            <pc:sldMk cId="2107437928" sldId="4115"/>
            <ac:spMk id="19" creationId="{F507C9D2-75AC-56C7-8146-4D9723A3F81C}"/>
          </ac:spMkLst>
        </pc:spChg>
        <pc:spChg chg="add mod">
          <ac:chgData name="Raoul, NEMBOT" userId="6faadeba-8662-4f98-936f-76fa088bfa86" providerId="ADAL" clId="{07043164-7562-2446-A5FA-4DDCE02633F4}" dt="2024-09-07T08:52:44.562" v="1399" actId="1036"/>
          <ac:spMkLst>
            <pc:docMk/>
            <pc:sldMk cId="2107437928" sldId="4115"/>
            <ac:spMk id="20" creationId="{444B80E9-F191-8595-7C33-B26EF713CBC9}"/>
          </ac:spMkLst>
        </pc:spChg>
        <pc:spChg chg="add mod">
          <ac:chgData name="Raoul, NEMBOT" userId="6faadeba-8662-4f98-936f-76fa088bfa86" providerId="ADAL" clId="{07043164-7562-2446-A5FA-4DDCE02633F4}" dt="2024-09-07T08:52:44.562" v="1399" actId="1036"/>
          <ac:spMkLst>
            <pc:docMk/>
            <pc:sldMk cId="2107437928" sldId="4115"/>
            <ac:spMk id="21" creationId="{DF64C71C-284C-6035-92AF-8DEF4C29357B}"/>
          </ac:spMkLst>
        </pc:spChg>
        <pc:spChg chg="add mod">
          <ac:chgData name="Raoul, NEMBOT" userId="6faadeba-8662-4f98-936f-76fa088bfa86" providerId="ADAL" clId="{07043164-7562-2446-A5FA-4DDCE02633F4}" dt="2024-09-07T08:52:27.963" v="1370" actId="1036"/>
          <ac:spMkLst>
            <pc:docMk/>
            <pc:sldMk cId="2107437928" sldId="4115"/>
            <ac:spMk id="22" creationId="{DF4E1922-9352-8A28-6B59-E0DB0CEFCE0C}"/>
          </ac:spMkLst>
        </pc:spChg>
        <pc:spChg chg="add mod">
          <ac:chgData name="Raoul, NEMBOT" userId="6faadeba-8662-4f98-936f-76fa088bfa86" providerId="ADAL" clId="{07043164-7562-2446-A5FA-4DDCE02633F4}" dt="2024-09-07T08:52:27.963" v="1370" actId="1036"/>
          <ac:spMkLst>
            <pc:docMk/>
            <pc:sldMk cId="2107437928" sldId="4115"/>
            <ac:spMk id="23" creationId="{F7AF8A7E-5666-A08E-DFC3-8A5CF212A943}"/>
          </ac:spMkLst>
        </pc:spChg>
        <pc:spChg chg="add mod">
          <ac:chgData name="Raoul, NEMBOT" userId="6faadeba-8662-4f98-936f-76fa088bfa86" providerId="ADAL" clId="{07043164-7562-2446-A5FA-4DDCE02633F4}" dt="2024-09-07T08:46:01.493" v="1264" actId="14100"/>
          <ac:spMkLst>
            <pc:docMk/>
            <pc:sldMk cId="2107437928" sldId="4115"/>
            <ac:spMk id="24" creationId="{9308AE5A-0D6F-93E0-36CE-E36D71291C64}"/>
          </ac:spMkLst>
        </pc:spChg>
        <pc:spChg chg="add mod">
          <ac:chgData name="Raoul, NEMBOT" userId="6faadeba-8662-4f98-936f-76fa088bfa86" providerId="ADAL" clId="{07043164-7562-2446-A5FA-4DDCE02633F4}" dt="2024-09-07T08:33:10.996" v="1253" actId="404"/>
          <ac:spMkLst>
            <pc:docMk/>
            <pc:sldMk cId="2107437928" sldId="4115"/>
            <ac:spMk id="25" creationId="{749C1DB9-B96A-96E3-FA66-B8872EA52ADD}"/>
          </ac:spMkLst>
        </pc:spChg>
        <pc:spChg chg="add mod">
          <ac:chgData name="Raoul, NEMBOT" userId="6faadeba-8662-4f98-936f-76fa088bfa86" providerId="ADAL" clId="{07043164-7562-2446-A5FA-4DDCE02633F4}" dt="2024-09-07T08:54:18.290" v="1441" actId="14100"/>
          <ac:spMkLst>
            <pc:docMk/>
            <pc:sldMk cId="2107437928" sldId="4115"/>
            <ac:spMk id="26" creationId="{E7610EE1-5C43-3E9E-DA5B-88373E6AB36E}"/>
          </ac:spMkLst>
        </pc:spChg>
        <pc:spChg chg="add mod">
          <ac:chgData name="Raoul, NEMBOT" userId="6faadeba-8662-4f98-936f-76fa088bfa86" providerId="ADAL" clId="{07043164-7562-2446-A5FA-4DDCE02633F4}" dt="2024-09-07T08:57:31.324" v="1501" actId="14100"/>
          <ac:spMkLst>
            <pc:docMk/>
            <pc:sldMk cId="2107437928" sldId="4115"/>
            <ac:spMk id="27" creationId="{9D12A62B-F72D-C434-D2B4-5C10CF607891}"/>
          </ac:spMkLst>
        </pc:spChg>
        <pc:spChg chg="add mod">
          <ac:chgData name="Raoul, NEMBOT" userId="6faadeba-8662-4f98-936f-76fa088bfa86" providerId="ADAL" clId="{07043164-7562-2446-A5FA-4DDCE02633F4}" dt="2024-09-07T08:52:44.562" v="1399" actId="1036"/>
          <ac:spMkLst>
            <pc:docMk/>
            <pc:sldMk cId="2107437928" sldId="4115"/>
            <ac:spMk id="28" creationId="{9A72BC17-5FB8-C600-8B14-A2DF307786FE}"/>
          </ac:spMkLst>
        </pc:spChg>
        <pc:spChg chg="add mod">
          <ac:chgData name="Raoul, NEMBOT" userId="6faadeba-8662-4f98-936f-76fa088bfa86" providerId="ADAL" clId="{07043164-7562-2446-A5FA-4DDCE02633F4}" dt="2024-09-07T08:53:39.123" v="1436" actId="20577"/>
          <ac:spMkLst>
            <pc:docMk/>
            <pc:sldMk cId="2107437928" sldId="4115"/>
            <ac:spMk id="29" creationId="{4037B6D7-2CC1-3476-3BAA-9D42BFFFD1E5}"/>
          </ac:spMkLst>
        </pc:spChg>
        <pc:spChg chg="add">
          <ac:chgData name="Raoul, NEMBOT" userId="6faadeba-8662-4f98-936f-76fa088bfa86" providerId="ADAL" clId="{07043164-7562-2446-A5FA-4DDCE02633F4}" dt="2024-09-07T08:54:35.267" v="1442" actId="11529"/>
          <ac:spMkLst>
            <pc:docMk/>
            <pc:sldMk cId="2107437928" sldId="4115"/>
            <ac:spMk id="30" creationId="{4D0E0523-5F89-8417-9C1D-74B264654218}"/>
          </ac:spMkLst>
        </pc:spChg>
        <pc:spChg chg="add mod">
          <ac:chgData name="Raoul, NEMBOT" userId="6faadeba-8662-4f98-936f-76fa088bfa86" providerId="ADAL" clId="{07043164-7562-2446-A5FA-4DDCE02633F4}" dt="2024-09-07T08:55:47.356" v="1471" actId="14100"/>
          <ac:spMkLst>
            <pc:docMk/>
            <pc:sldMk cId="2107437928" sldId="4115"/>
            <ac:spMk id="31" creationId="{365173C8-B5CC-1BF8-63F5-BA6B91AC3F00}"/>
          </ac:spMkLst>
        </pc:spChg>
        <pc:spChg chg="add mod">
          <ac:chgData name="Raoul, NEMBOT" userId="6faadeba-8662-4f98-936f-76fa088bfa86" providerId="ADAL" clId="{07043164-7562-2446-A5FA-4DDCE02633F4}" dt="2024-09-07T08:56:23.367" v="1491" actId="20577"/>
          <ac:spMkLst>
            <pc:docMk/>
            <pc:sldMk cId="2107437928" sldId="4115"/>
            <ac:spMk id="32" creationId="{23C0A023-C620-FAB8-6FCC-74ACEDB4CBE9}"/>
          </ac:spMkLst>
        </pc:spChg>
        <pc:spChg chg="add mod">
          <ac:chgData name="Raoul, NEMBOT" userId="6faadeba-8662-4f98-936f-76fa088bfa86" providerId="ADAL" clId="{07043164-7562-2446-A5FA-4DDCE02633F4}" dt="2024-09-07T08:56:50.139" v="1495" actId="1076"/>
          <ac:spMkLst>
            <pc:docMk/>
            <pc:sldMk cId="2107437928" sldId="4115"/>
            <ac:spMk id="33" creationId="{E388EED4-52AB-3C79-E982-F6D8DE6E7F06}"/>
          </ac:spMkLst>
        </pc:spChg>
        <pc:spChg chg="add del mod">
          <ac:chgData name="Raoul, NEMBOT" userId="6faadeba-8662-4f98-936f-76fa088bfa86" providerId="ADAL" clId="{07043164-7562-2446-A5FA-4DDCE02633F4}" dt="2024-09-07T09:03:19.432" v="1504" actId="478"/>
          <ac:spMkLst>
            <pc:docMk/>
            <pc:sldMk cId="2107437928" sldId="4115"/>
            <ac:spMk id="34" creationId="{64F20785-1655-7696-5DE1-99BC3B82E6BE}"/>
          </ac:spMkLst>
        </pc:spChg>
        <pc:spChg chg="add mod">
          <ac:chgData name="Raoul, NEMBOT" userId="6faadeba-8662-4f98-936f-76fa088bfa86" providerId="ADAL" clId="{07043164-7562-2446-A5FA-4DDCE02633F4}" dt="2024-09-07T09:04:01.419" v="1540" actId="20577"/>
          <ac:spMkLst>
            <pc:docMk/>
            <pc:sldMk cId="2107437928" sldId="4115"/>
            <ac:spMk id="35" creationId="{5EA6FACC-4506-5134-4024-586FEB5D5AFC}"/>
          </ac:spMkLst>
        </pc:spChg>
        <pc:picChg chg="add mod">
          <ac:chgData name="Raoul, NEMBOT" userId="6faadeba-8662-4f98-936f-76fa088bfa86" providerId="ADAL" clId="{07043164-7562-2446-A5FA-4DDCE02633F4}" dt="2024-09-07T08:32:39.170" v="1230" actId="1076"/>
          <ac:picMkLst>
            <pc:docMk/>
            <pc:sldMk cId="2107437928" sldId="4115"/>
            <ac:picMk id="4" creationId="{D6D1D340-C6FE-864E-BDEA-724287F1CEBA}"/>
          </ac:picMkLst>
        </pc:picChg>
        <pc:picChg chg="add del mod">
          <ac:chgData name="Raoul, NEMBOT" userId="6faadeba-8662-4f98-936f-76fa088bfa86" providerId="ADAL" clId="{07043164-7562-2446-A5FA-4DDCE02633F4}" dt="2024-09-07T06:54:51.231" v="685" actId="478"/>
          <ac:picMkLst>
            <pc:docMk/>
            <pc:sldMk cId="2107437928" sldId="4115"/>
            <ac:picMk id="1026" creationId="{2AE77AF7-1B06-5D23-60B3-8A9C8682C535}"/>
          </ac:picMkLst>
        </pc:picChg>
        <pc:picChg chg="add mod">
          <ac:chgData name="Raoul, NEMBOT" userId="6faadeba-8662-4f98-936f-76fa088bfa86" providerId="ADAL" clId="{07043164-7562-2446-A5FA-4DDCE02633F4}" dt="2024-09-07T08:52:27.963" v="1370" actId="1036"/>
          <ac:picMkLst>
            <pc:docMk/>
            <pc:sldMk cId="2107437928" sldId="4115"/>
            <ac:picMk id="1028" creationId="{70B93868-7527-9F4D-29D1-C41AFC2B0D24}"/>
          </ac:picMkLst>
        </pc:picChg>
        <pc:picChg chg="add mod">
          <ac:chgData name="Raoul, NEMBOT" userId="6faadeba-8662-4f98-936f-76fa088bfa86" providerId="ADAL" clId="{07043164-7562-2446-A5FA-4DDCE02633F4}" dt="2024-09-07T08:54:50.879" v="1445" actId="1076"/>
          <ac:picMkLst>
            <pc:docMk/>
            <pc:sldMk cId="2107437928" sldId="4115"/>
            <ac:picMk id="1030" creationId="{756E07A0-718A-D3B2-45AA-3D707ED2EB6C}"/>
          </ac:picMkLst>
        </pc:picChg>
        <pc:picChg chg="add mod">
          <ac:chgData name="Raoul, NEMBOT" userId="6faadeba-8662-4f98-936f-76fa088bfa86" providerId="ADAL" clId="{07043164-7562-2446-A5FA-4DDCE02633F4}" dt="2024-09-07T08:46:11.657" v="1265" actId="1076"/>
          <ac:picMkLst>
            <pc:docMk/>
            <pc:sldMk cId="2107437928" sldId="4115"/>
            <ac:picMk id="1032" creationId="{2B790F16-2041-BBB8-DA19-F6FD1CBC3542}"/>
          </ac:picMkLst>
        </pc:picChg>
      </pc:sldChg>
      <pc:sldChg chg="new del">
        <pc:chgData name="Raoul, NEMBOT" userId="6faadeba-8662-4f98-936f-76fa088bfa86" providerId="ADAL" clId="{07043164-7562-2446-A5FA-4DDCE02633F4}" dt="2024-09-07T07:06:34.624" v="695" actId="2696"/>
        <pc:sldMkLst>
          <pc:docMk/>
          <pc:sldMk cId="3686235720" sldId="4116"/>
        </pc:sldMkLst>
      </pc:sldChg>
      <pc:sldChg chg="modSp new mod ord">
        <pc:chgData name="Raoul, NEMBOT" userId="6faadeba-8662-4f98-936f-76fa088bfa86" providerId="ADAL" clId="{07043164-7562-2446-A5FA-4DDCE02633F4}" dt="2024-09-07T07:11:53.872" v="829" actId="255"/>
        <pc:sldMkLst>
          <pc:docMk/>
          <pc:sldMk cId="3769991670" sldId="4117"/>
        </pc:sldMkLst>
        <pc:spChg chg="mod">
          <ac:chgData name="Raoul, NEMBOT" userId="6faadeba-8662-4f98-936f-76fa088bfa86" providerId="ADAL" clId="{07043164-7562-2446-A5FA-4DDCE02633F4}" dt="2024-09-07T07:07:26.298" v="716" actId="20577"/>
          <ac:spMkLst>
            <pc:docMk/>
            <pc:sldMk cId="3769991670" sldId="4117"/>
            <ac:spMk id="2" creationId="{FAE62D99-0C60-8BA4-2BEA-D7C534E11F8B}"/>
          </ac:spMkLst>
        </pc:spChg>
        <pc:spChg chg="mod">
          <ac:chgData name="Raoul, NEMBOT" userId="6faadeba-8662-4f98-936f-76fa088bfa86" providerId="ADAL" clId="{07043164-7562-2446-A5FA-4DDCE02633F4}" dt="2024-09-07T07:08:16.029" v="782" actId="20577"/>
          <ac:spMkLst>
            <pc:docMk/>
            <pc:sldMk cId="3769991670" sldId="4117"/>
            <ac:spMk id="4" creationId="{8D6C9D15-DB9F-2162-6CB3-48E35FB52690}"/>
          </ac:spMkLst>
        </pc:spChg>
        <pc:spChg chg="mod">
          <ac:chgData name="Raoul, NEMBOT" userId="6faadeba-8662-4f98-936f-76fa088bfa86" providerId="ADAL" clId="{07043164-7562-2446-A5FA-4DDCE02633F4}" dt="2024-09-07T07:11:39.348" v="827" actId="255"/>
          <ac:spMkLst>
            <pc:docMk/>
            <pc:sldMk cId="3769991670" sldId="4117"/>
            <ac:spMk id="5" creationId="{15CB7B29-5341-AEA5-B384-AED019A4A9E0}"/>
          </ac:spMkLst>
        </pc:spChg>
        <pc:spChg chg="mod">
          <ac:chgData name="Raoul, NEMBOT" userId="6faadeba-8662-4f98-936f-76fa088bfa86" providerId="ADAL" clId="{07043164-7562-2446-A5FA-4DDCE02633F4}" dt="2024-09-07T07:07:58.978" v="745" actId="20577"/>
          <ac:spMkLst>
            <pc:docMk/>
            <pc:sldMk cId="3769991670" sldId="4117"/>
            <ac:spMk id="6" creationId="{B04653C1-3919-8751-24DB-70887164C5E0}"/>
          </ac:spMkLst>
        </pc:spChg>
        <pc:spChg chg="mod">
          <ac:chgData name="Raoul, NEMBOT" userId="6faadeba-8662-4f98-936f-76fa088bfa86" providerId="ADAL" clId="{07043164-7562-2446-A5FA-4DDCE02633F4}" dt="2024-09-07T07:11:53.872" v="829" actId="255"/>
          <ac:spMkLst>
            <pc:docMk/>
            <pc:sldMk cId="3769991670" sldId="4117"/>
            <ac:spMk id="7" creationId="{50740639-1A72-AC61-DD3A-E7687EF74714}"/>
          </ac:spMkLst>
        </pc:spChg>
      </pc:sldChg>
      <pc:sldChg chg="addSp delSp modSp new mod">
        <pc:chgData name="Raoul, NEMBOT" userId="6faadeba-8662-4f98-936f-76fa088bfa86" providerId="ADAL" clId="{07043164-7562-2446-A5FA-4DDCE02633F4}" dt="2024-09-07T09:39:03.361" v="1879" actId="20577"/>
        <pc:sldMkLst>
          <pc:docMk/>
          <pc:sldMk cId="2026970028" sldId="4118"/>
        </pc:sldMkLst>
        <pc:spChg chg="mod">
          <ac:chgData name="Raoul, NEMBOT" userId="6faadeba-8662-4f98-936f-76fa088bfa86" providerId="ADAL" clId="{07043164-7562-2446-A5FA-4DDCE02633F4}" dt="2024-09-07T09:31:17.850" v="1690" actId="20577"/>
          <ac:spMkLst>
            <pc:docMk/>
            <pc:sldMk cId="2026970028" sldId="4118"/>
            <ac:spMk id="2" creationId="{93018894-3DF1-94E4-797E-3FB43B91D497}"/>
          </ac:spMkLst>
        </pc:spChg>
        <pc:spChg chg="del mod">
          <ac:chgData name="Raoul, NEMBOT" userId="6faadeba-8662-4f98-936f-76fa088bfa86" providerId="ADAL" clId="{07043164-7562-2446-A5FA-4DDCE02633F4}" dt="2024-09-07T09:33:32.873" v="1739" actId="478"/>
          <ac:spMkLst>
            <pc:docMk/>
            <pc:sldMk cId="2026970028" sldId="4118"/>
            <ac:spMk id="3" creationId="{7A8EF74E-25E1-ED42-78B2-00A08F2B37D4}"/>
          </ac:spMkLst>
        </pc:spChg>
        <pc:spChg chg="add del mod">
          <ac:chgData name="Raoul, NEMBOT" userId="6faadeba-8662-4f98-936f-76fa088bfa86" providerId="ADAL" clId="{07043164-7562-2446-A5FA-4DDCE02633F4}" dt="2024-09-07T09:33:39.905" v="1741" actId="478"/>
          <ac:spMkLst>
            <pc:docMk/>
            <pc:sldMk cId="2026970028" sldId="4118"/>
            <ac:spMk id="8" creationId="{9FB3DB8D-214D-C9E5-091A-4823FE02A90E}"/>
          </ac:spMkLst>
        </pc:spChg>
        <pc:spChg chg="add del mod">
          <ac:chgData name="Raoul, NEMBOT" userId="6faadeba-8662-4f98-936f-76fa088bfa86" providerId="ADAL" clId="{07043164-7562-2446-A5FA-4DDCE02633F4}" dt="2024-09-07T09:33:59.269" v="1748" actId="478"/>
          <ac:spMkLst>
            <pc:docMk/>
            <pc:sldMk cId="2026970028" sldId="4118"/>
            <ac:spMk id="10" creationId="{42D5B171-9703-D3FD-FDA9-9C9010D72359}"/>
          </ac:spMkLst>
        </pc:spChg>
        <pc:spChg chg="add mod">
          <ac:chgData name="Raoul, NEMBOT" userId="6faadeba-8662-4f98-936f-76fa088bfa86" providerId="ADAL" clId="{07043164-7562-2446-A5FA-4DDCE02633F4}" dt="2024-09-07T09:33:47.023" v="1743" actId="571"/>
          <ac:spMkLst>
            <pc:docMk/>
            <pc:sldMk cId="2026970028" sldId="4118"/>
            <ac:spMk id="11" creationId="{37D51671-DA40-BD7B-A9AB-0AF1422C9891}"/>
          </ac:spMkLst>
        </pc:spChg>
        <pc:spChg chg="add mod">
          <ac:chgData name="Raoul, NEMBOT" userId="6faadeba-8662-4f98-936f-76fa088bfa86" providerId="ADAL" clId="{07043164-7562-2446-A5FA-4DDCE02633F4}" dt="2024-09-07T09:38:17.329" v="1822" actId="313"/>
          <ac:spMkLst>
            <pc:docMk/>
            <pc:sldMk cId="2026970028" sldId="4118"/>
            <ac:spMk id="14" creationId="{EF10F5B3-2E3E-F9CC-DB10-A9E631BC3B93}"/>
          </ac:spMkLst>
        </pc:spChg>
        <pc:spChg chg="add mod">
          <ac:chgData name="Raoul, NEMBOT" userId="6faadeba-8662-4f98-936f-76fa088bfa86" providerId="ADAL" clId="{07043164-7562-2446-A5FA-4DDCE02633F4}" dt="2024-09-07T09:39:03.361" v="1879" actId="20577"/>
          <ac:spMkLst>
            <pc:docMk/>
            <pc:sldMk cId="2026970028" sldId="4118"/>
            <ac:spMk id="15" creationId="{FA18EEF2-10D3-5F48-661E-54807A434899}"/>
          </ac:spMkLst>
        </pc:spChg>
        <pc:picChg chg="add mod">
          <ac:chgData name="Raoul, NEMBOT" userId="6faadeba-8662-4f98-936f-76fa088bfa86" providerId="ADAL" clId="{07043164-7562-2446-A5FA-4DDCE02633F4}" dt="2024-09-07T09:31:40.388" v="1736" actId="962"/>
          <ac:picMkLst>
            <pc:docMk/>
            <pc:sldMk cId="2026970028" sldId="4118"/>
            <ac:picMk id="6" creationId="{9E1C58A1-3778-5ECF-72AB-B1315662B683}"/>
          </ac:picMkLst>
        </pc:picChg>
        <pc:picChg chg="add mod">
          <ac:chgData name="Raoul, NEMBOT" userId="6faadeba-8662-4f98-936f-76fa088bfa86" providerId="ADAL" clId="{07043164-7562-2446-A5FA-4DDCE02633F4}" dt="2024-09-07T09:33:54.704" v="1747" actId="962"/>
          <ac:picMkLst>
            <pc:docMk/>
            <pc:sldMk cId="2026970028" sldId="4118"/>
            <ac:picMk id="13" creationId="{8AEEF549-D82B-BFB3-F7AC-85C058FDEFD4}"/>
          </ac:picMkLst>
        </pc:picChg>
      </pc:sldChg>
      <pc:sldChg chg="modSp new del mod">
        <pc:chgData name="Raoul, NEMBOT" userId="6faadeba-8662-4f98-936f-76fa088bfa86" providerId="ADAL" clId="{07043164-7562-2446-A5FA-4DDCE02633F4}" dt="2024-09-07T09:28:08.071" v="1577" actId="2696"/>
        <pc:sldMkLst>
          <pc:docMk/>
          <pc:sldMk cId="2267772490" sldId="4118"/>
        </pc:sldMkLst>
        <pc:spChg chg="mod">
          <ac:chgData name="Raoul, NEMBOT" userId="6faadeba-8662-4f98-936f-76fa088bfa86" providerId="ADAL" clId="{07043164-7562-2446-A5FA-4DDCE02633F4}" dt="2024-09-07T08:25:07.526" v="1179"/>
          <ac:spMkLst>
            <pc:docMk/>
            <pc:sldMk cId="2267772490" sldId="4118"/>
            <ac:spMk id="3" creationId="{8A2F0628-86E4-5640-4DEC-617603D415EA}"/>
          </ac:spMkLst>
        </pc:spChg>
      </pc:sldChg>
      <pc:sldChg chg="modSp new del mod">
        <pc:chgData name="Raoul, NEMBOT" userId="6faadeba-8662-4f98-936f-76fa088bfa86" providerId="ADAL" clId="{07043164-7562-2446-A5FA-4DDCE02633F4}" dt="2024-09-07T09:07:29.088" v="1576" actId="2696"/>
        <pc:sldMkLst>
          <pc:docMk/>
          <pc:sldMk cId="283702195" sldId="4119"/>
        </pc:sldMkLst>
        <pc:spChg chg="mod">
          <ac:chgData name="Raoul, NEMBOT" userId="6faadeba-8662-4f98-936f-76fa088bfa86" providerId="ADAL" clId="{07043164-7562-2446-A5FA-4DDCE02633F4}" dt="2024-09-07T08:27:00.847" v="1216" actId="20577"/>
          <ac:spMkLst>
            <pc:docMk/>
            <pc:sldMk cId="283702195" sldId="4119"/>
            <ac:spMk id="2" creationId="{05CE6C93-6AFA-99BB-0C7D-C825F4F59802}"/>
          </ac:spMkLst>
        </pc:spChg>
        <pc:spChg chg="mod">
          <ac:chgData name="Raoul, NEMBOT" userId="6faadeba-8662-4f98-936f-76fa088bfa86" providerId="ADAL" clId="{07043164-7562-2446-A5FA-4DDCE02633F4}" dt="2024-09-07T08:26:41.263" v="1190" actId="113"/>
          <ac:spMkLst>
            <pc:docMk/>
            <pc:sldMk cId="283702195" sldId="4119"/>
            <ac:spMk id="3" creationId="{DE19553C-7B38-C095-1787-DD25FEADF277}"/>
          </ac:spMkLst>
        </pc:spChg>
      </pc:sldChg>
    </pc:docChg>
  </pc:docChgLst>
  <pc:docChgLst>
    <pc:chgData name="Raoul, NEMBOT" userId="6faadeba-8662-4f98-936f-76fa088bfa86" providerId="ADAL" clId="{3CF34B2E-59DD-4FE4-BFBA-5AB7B9481F41}"/>
    <pc:docChg chg="custSel addSld modSld">
      <pc:chgData name="Raoul, NEMBOT" userId="6faadeba-8662-4f98-936f-76fa088bfa86" providerId="ADAL" clId="{3CF34B2E-59DD-4FE4-BFBA-5AB7B9481F41}" dt="2024-09-09T11:35:44.949" v="543" actId="20577"/>
      <pc:docMkLst>
        <pc:docMk/>
      </pc:docMkLst>
      <pc:sldChg chg="modSp mod">
        <pc:chgData name="Raoul, NEMBOT" userId="6faadeba-8662-4f98-936f-76fa088bfa86" providerId="ADAL" clId="{3CF34B2E-59DD-4FE4-BFBA-5AB7B9481F41}" dt="2024-09-09T11:31:49.170" v="203" actId="20577"/>
        <pc:sldMkLst>
          <pc:docMk/>
          <pc:sldMk cId="3412127411" sldId="397"/>
        </pc:sldMkLst>
        <pc:spChg chg="mod">
          <ac:chgData name="Raoul, NEMBOT" userId="6faadeba-8662-4f98-936f-76fa088bfa86" providerId="ADAL" clId="{3CF34B2E-59DD-4FE4-BFBA-5AB7B9481F41}" dt="2024-09-09T11:31:49.170" v="203" actId="20577"/>
          <ac:spMkLst>
            <pc:docMk/>
            <pc:sldMk cId="3412127411" sldId="397"/>
            <ac:spMk id="16" creationId="{ADF4DD6F-6D5B-3882-101A-016EA6307AF3}"/>
          </ac:spMkLst>
        </pc:spChg>
        <pc:spChg chg="mod">
          <ac:chgData name="Raoul, NEMBOT" userId="6faadeba-8662-4f98-936f-76fa088bfa86" providerId="ADAL" clId="{3CF34B2E-59DD-4FE4-BFBA-5AB7B9481F41}" dt="2024-09-09T11:31:17.101" v="154" actId="20577"/>
          <ac:spMkLst>
            <pc:docMk/>
            <pc:sldMk cId="3412127411" sldId="397"/>
            <ac:spMk id="17" creationId="{11788353-4040-E160-F1BD-A7DB9042654D}"/>
          </ac:spMkLst>
        </pc:spChg>
      </pc:sldChg>
      <pc:sldChg chg="modSp mod">
        <pc:chgData name="Raoul, NEMBOT" userId="6faadeba-8662-4f98-936f-76fa088bfa86" providerId="ADAL" clId="{3CF34B2E-59DD-4FE4-BFBA-5AB7B9481F41}" dt="2024-09-06T11:26:40.993" v="60" actId="20577"/>
        <pc:sldMkLst>
          <pc:docMk/>
          <pc:sldMk cId="1891726289" sldId="4111"/>
        </pc:sldMkLst>
        <pc:spChg chg="mod">
          <ac:chgData name="Raoul, NEMBOT" userId="6faadeba-8662-4f98-936f-76fa088bfa86" providerId="ADAL" clId="{3CF34B2E-59DD-4FE4-BFBA-5AB7B9481F41}" dt="2024-09-06T11:26:07.594" v="18" actId="20577"/>
          <ac:spMkLst>
            <pc:docMk/>
            <pc:sldMk cId="1891726289" sldId="4111"/>
            <ac:spMk id="2" creationId="{EA9219EC-364B-A3CD-B8BB-A715AFAE0F21}"/>
          </ac:spMkLst>
        </pc:spChg>
        <pc:spChg chg="mod">
          <ac:chgData name="Raoul, NEMBOT" userId="6faadeba-8662-4f98-936f-76fa088bfa86" providerId="ADAL" clId="{3CF34B2E-59DD-4FE4-BFBA-5AB7B9481F41}" dt="2024-09-06T11:26:40.993" v="60" actId="20577"/>
          <ac:spMkLst>
            <pc:docMk/>
            <pc:sldMk cId="1891726289" sldId="4111"/>
            <ac:spMk id="3" creationId="{D99C47F6-AFB9-3A13-966B-20CEDD0C1F0B}"/>
          </ac:spMkLst>
        </pc:spChg>
      </pc:sldChg>
      <pc:sldChg chg="modSp mod">
        <pc:chgData name="Raoul, NEMBOT" userId="6faadeba-8662-4f98-936f-76fa088bfa86" providerId="ADAL" clId="{3CF34B2E-59DD-4FE4-BFBA-5AB7B9481F41}" dt="2024-09-09T11:35:44.949" v="543" actId="20577"/>
        <pc:sldMkLst>
          <pc:docMk/>
          <pc:sldMk cId="1761220753" sldId="4113"/>
        </pc:sldMkLst>
        <pc:spChg chg="mod">
          <ac:chgData name="Raoul, NEMBOT" userId="6faadeba-8662-4f98-936f-76fa088bfa86" providerId="ADAL" clId="{3CF34B2E-59DD-4FE4-BFBA-5AB7B9481F41}" dt="2024-09-09T11:35:44.949" v="543" actId="20577"/>
          <ac:spMkLst>
            <pc:docMk/>
            <pc:sldMk cId="1761220753" sldId="4113"/>
            <ac:spMk id="3" creationId="{305AA706-968A-E5B2-FA39-A8173B357266}"/>
          </ac:spMkLst>
        </pc:spChg>
      </pc:sldChg>
      <pc:sldChg chg="add">
        <pc:chgData name="Raoul, NEMBOT" userId="6faadeba-8662-4f98-936f-76fa088bfa86" providerId="ADAL" clId="{3CF34B2E-59DD-4FE4-BFBA-5AB7B9481F41}" dt="2024-09-06T11:25:56.087" v="0" actId="2890"/>
        <pc:sldMkLst>
          <pc:docMk/>
          <pc:sldMk cId="2524902547" sldId="4114"/>
        </pc:sldMkLst>
      </pc:sldChg>
      <pc:sldChg chg="addSp delSp modSp new mod modClrScheme chgLayout">
        <pc:chgData name="Raoul, NEMBOT" userId="6faadeba-8662-4f98-936f-76fa088bfa86" providerId="ADAL" clId="{3CF34B2E-59DD-4FE4-BFBA-5AB7B9481F41}" dt="2024-09-09T11:34:22.187" v="441" actId="20577"/>
        <pc:sldMkLst>
          <pc:docMk/>
          <pc:sldMk cId="2107437928" sldId="4115"/>
        </pc:sldMkLst>
        <pc:spChg chg="add mod">
          <ac:chgData name="Raoul, NEMBOT" userId="6faadeba-8662-4f98-936f-76fa088bfa86" providerId="ADAL" clId="{3CF34B2E-59DD-4FE4-BFBA-5AB7B9481F41}" dt="2024-09-09T11:32:37.540" v="248" actId="1037"/>
          <ac:spMkLst>
            <pc:docMk/>
            <pc:sldMk cId="2107437928" sldId="4115"/>
            <ac:spMk id="2" creationId="{9F448FA4-54DC-A548-3EE8-0D59BA357A9B}"/>
          </ac:spMkLst>
        </pc:spChg>
        <pc:spChg chg="del mod ord">
          <ac:chgData name="Raoul, NEMBOT" userId="6faadeba-8662-4f98-936f-76fa088bfa86" providerId="ADAL" clId="{3CF34B2E-59DD-4FE4-BFBA-5AB7B9481F41}" dt="2024-09-06T11:27:10.579" v="62" actId="700"/>
          <ac:spMkLst>
            <pc:docMk/>
            <pc:sldMk cId="2107437928" sldId="4115"/>
            <ac:spMk id="2" creationId="{DC96B7C7-E9CD-7D10-3C68-56EF2D6B5D66}"/>
          </ac:spMkLst>
        </pc:spChg>
        <pc:spChg chg="mod ord">
          <ac:chgData name="Raoul, NEMBOT" userId="6faadeba-8662-4f98-936f-76fa088bfa86" providerId="ADAL" clId="{3CF34B2E-59DD-4FE4-BFBA-5AB7B9481F41}" dt="2024-09-06T11:27:10.579" v="62" actId="700"/>
          <ac:spMkLst>
            <pc:docMk/>
            <pc:sldMk cId="2107437928" sldId="4115"/>
            <ac:spMk id="3" creationId="{7E92D87B-305C-9E37-A6CF-4E2B22AAABBE}"/>
          </ac:spMkLst>
        </pc:spChg>
        <pc:spChg chg="del">
          <ac:chgData name="Raoul, NEMBOT" userId="6faadeba-8662-4f98-936f-76fa088bfa86" providerId="ADAL" clId="{3CF34B2E-59DD-4FE4-BFBA-5AB7B9481F41}" dt="2024-09-06T11:27:10.579" v="62" actId="700"/>
          <ac:spMkLst>
            <pc:docMk/>
            <pc:sldMk cId="2107437928" sldId="4115"/>
            <ac:spMk id="4" creationId="{59B13BA4-7732-0F87-58A0-7EC138B17D5C}"/>
          </ac:spMkLst>
        </pc:spChg>
        <pc:spChg chg="del">
          <ac:chgData name="Raoul, NEMBOT" userId="6faadeba-8662-4f98-936f-76fa088bfa86" providerId="ADAL" clId="{3CF34B2E-59DD-4FE4-BFBA-5AB7B9481F41}" dt="2024-09-06T11:27:10.579" v="62" actId="700"/>
          <ac:spMkLst>
            <pc:docMk/>
            <pc:sldMk cId="2107437928" sldId="4115"/>
            <ac:spMk id="5" creationId="{81460762-6DDE-8364-213B-694BCCF2DBB0}"/>
          </ac:spMkLst>
        </pc:spChg>
        <pc:spChg chg="del mod ord">
          <ac:chgData name="Raoul, NEMBOT" userId="6faadeba-8662-4f98-936f-76fa088bfa86" providerId="ADAL" clId="{3CF34B2E-59DD-4FE4-BFBA-5AB7B9481F41}" dt="2024-09-06T11:27:10.579" v="62" actId="700"/>
          <ac:spMkLst>
            <pc:docMk/>
            <pc:sldMk cId="2107437928" sldId="4115"/>
            <ac:spMk id="6" creationId="{F187A503-FF21-315F-553B-431C2438673D}"/>
          </ac:spMkLst>
        </pc:spChg>
        <pc:spChg chg="add mod ord">
          <ac:chgData name="Raoul, NEMBOT" userId="6faadeba-8662-4f98-936f-76fa088bfa86" providerId="ADAL" clId="{3CF34B2E-59DD-4FE4-BFBA-5AB7B9481F41}" dt="2024-09-06T11:27:33.905" v="100" actId="20577"/>
          <ac:spMkLst>
            <pc:docMk/>
            <pc:sldMk cId="2107437928" sldId="4115"/>
            <ac:spMk id="7" creationId="{1DCF4F83-6BF7-F5BD-08B8-A0D4DE14DA3F}"/>
          </ac:spMkLst>
        </pc:spChg>
        <pc:spChg chg="add mod ord">
          <ac:chgData name="Raoul, NEMBOT" userId="6faadeba-8662-4f98-936f-76fa088bfa86" providerId="ADAL" clId="{3CF34B2E-59DD-4FE4-BFBA-5AB7B9481F41}" dt="2024-09-06T11:27:10.579" v="62" actId="700"/>
          <ac:spMkLst>
            <pc:docMk/>
            <pc:sldMk cId="2107437928" sldId="4115"/>
            <ac:spMk id="8" creationId="{A96F828F-650C-B911-0AD2-596BA9F3F51B}"/>
          </ac:spMkLst>
        </pc:spChg>
        <pc:spChg chg="add mod">
          <ac:chgData name="Raoul, NEMBOT" userId="6faadeba-8662-4f98-936f-76fa088bfa86" providerId="ADAL" clId="{3CF34B2E-59DD-4FE4-BFBA-5AB7B9481F41}" dt="2024-09-09T11:34:22.187" v="441" actId="20577"/>
          <ac:spMkLst>
            <pc:docMk/>
            <pc:sldMk cId="2107437928" sldId="4115"/>
            <ac:spMk id="9" creationId="{BC530A92-9311-E45A-FF13-0818090BBB9A}"/>
          </ac:spMkLst>
        </pc:spChg>
      </pc:sldChg>
      <pc:sldChg chg="modSp mod">
        <pc:chgData name="Raoul, NEMBOT" userId="6faadeba-8662-4f98-936f-76fa088bfa86" providerId="ADAL" clId="{3CF34B2E-59DD-4FE4-BFBA-5AB7B9481F41}" dt="2024-09-09T11:30:38.532" v="102" actId="207"/>
        <pc:sldMkLst>
          <pc:docMk/>
          <pc:sldMk cId="3769991670" sldId="4117"/>
        </pc:sldMkLst>
        <pc:spChg chg="mod">
          <ac:chgData name="Raoul, NEMBOT" userId="6faadeba-8662-4f98-936f-76fa088bfa86" providerId="ADAL" clId="{3CF34B2E-59DD-4FE4-BFBA-5AB7B9481F41}" dt="2024-09-09T11:30:38.532" v="102" actId="207"/>
          <ac:spMkLst>
            <pc:docMk/>
            <pc:sldMk cId="3769991670" sldId="4117"/>
            <ac:spMk id="6" creationId="{B04653C1-3919-8751-24DB-70887164C5E0}"/>
          </ac:spMkLst>
        </pc:spChg>
        <pc:spChg chg="mod">
          <ac:chgData name="Raoul, NEMBOT" userId="6faadeba-8662-4f98-936f-76fa088bfa86" providerId="ADAL" clId="{3CF34B2E-59DD-4FE4-BFBA-5AB7B9481F41}" dt="2024-09-09T11:30:25.794" v="101" actId="207"/>
          <ac:spMkLst>
            <pc:docMk/>
            <pc:sldMk cId="3769991670" sldId="4117"/>
            <ac:spMk id="7" creationId="{50740639-1A72-AC61-DD3A-E7687EF74714}"/>
          </ac:spMkLst>
        </pc:spChg>
      </pc:sldChg>
      <pc:sldChg chg="modSp mod">
        <pc:chgData name="Raoul, NEMBOT" userId="6faadeba-8662-4f98-936f-76fa088bfa86" providerId="ADAL" clId="{3CF34B2E-59DD-4FE4-BFBA-5AB7B9481F41}" dt="2024-09-09T11:34:51.310" v="451" actId="1038"/>
        <pc:sldMkLst>
          <pc:docMk/>
          <pc:sldMk cId="2026970028" sldId="4118"/>
        </pc:sldMkLst>
        <pc:spChg chg="mod">
          <ac:chgData name="Raoul, NEMBOT" userId="6faadeba-8662-4f98-936f-76fa088bfa86" providerId="ADAL" clId="{3CF34B2E-59DD-4FE4-BFBA-5AB7B9481F41}" dt="2024-09-09T11:34:29.908" v="442" actId="313"/>
          <ac:spMkLst>
            <pc:docMk/>
            <pc:sldMk cId="2026970028" sldId="4118"/>
            <ac:spMk id="2" creationId="{93018894-3DF1-94E4-797E-3FB43B91D497}"/>
          </ac:spMkLst>
        </pc:spChg>
        <pc:spChg chg="mod">
          <ac:chgData name="Raoul, NEMBOT" userId="6faadeba-8662-4f98-936f-76fa088bfa86" providerId="ADAL" clId="{3CF34B2E-59DD-4FE4-BFBA-5AB7B9481F41}" dt="2024-09-09T11:34:51.310" v="451" actId="1038"/>
          <ac:spMkLst>
            <pc:docMk/>
            <pc:sldMk cId="2026970028" sldId="4118"/>
            <ac:spMk id="14" creationId="{EF10F5B3-2E3E-F9CC-DB10-A9E631BC3B93}"/>
          </ac:spMkLst>
        </pc:spChg>
        <pc:spChg chg="mod">
          <ac:chgData name="Raoul, NEMBOT" userId="6faadeba-8662-4f98-936f-76fa088bfa86" providerId="ADAL" clId="{3CF34B2E-59DD-4FE4-BFBA-5AB7B9481F41}" dt="2024-09-09T11:34:42.532" v="445" actId="122"/>
          <ac:spMkLst>
            <pc:docMk/>
            <pc:sldMk cId="2026970028" sldId="4118"/>
            <ac:spMk id="15" creationId="{FA18EEF2-10D3-5F48-661E-54807A434899}"/>
          </ac:spMkLst>
        </pc:sp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025799-1A48-40B7-8069-1C9EBD9AE2D0}"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19B2B48B-25E3-46E2-88A7-D62DDA3ECC94}">
      <dgm:prSet/>
      <dgm:spPr/>
      <dgm:t>
        <a:bodyPr/>
        <a:lstStyle/>
        <a:p>
          <a:pPr>
            <a:lnSpc>
              <a:spcPct val="100000"/>
            </a:lnSpc>
          </a:pPr>
          <a:r>
            <a:rPr lang="en-US" b="1" noProof="0"/>
            <a:t>Justification</a:t>
          </a:r>
        </a:p>
      </dgm:t>
    </dgm:pt>
    <dgm:pt modelId="{EEDC8F2A-0E5E-4CD4-8C61-D66F7C34B410}" type="parTrans" cxnId="{50582B00-07F1-41C5-919D-61D9D789133F}">
      <dgm:prSet/>
      <dgm:spPr/>
      <dgm:t>
        <a:bodyPr/>
        <a:lstStyle/>
        <a:p>
          <a:endParaRPr lang="en-US" b="1" noProof="0"/>
        </a:p>
      </dgm:t>
    </dgm:pt>
    <dgm:pt modelId="{58408D24-95AD-4097-907C-1F03393D90DE}" type="sibTrans" cxnId="{50582B00-07F1-41C5-919D-61D9D789133F}">
      <dgm:prSet/>
      <dgm:spPr/>
      <dgm:t>
        <a:bodyPr/>
        <a:lstStyle/>
        <a:p>
          <a:endParaRPr lang="en-US" b="1" noProof="0"/>
        </a:p>
      </dgm:t>
    </dgm:pt>
    <dgm:pt modelId="{A985EEDC-4307-406C-94B8-9D6A6549AE16}">
      <dgm:prSet/>
      <dgm:spPr/>
      <dgm:t>
        <a:bodyPr/>
        <a:lstStyle/>
        <a:p>
          <a:pPr>
            <a:lnSpc>
              <a:spcPct val="100000"/>
            </a:lnSpc>
          </a:pPr>
          <a:r>
            <a:rPr lang="fr-FR" b="1"/>
            <a:t>Forces &amp; Faiblesses</a:t>
          </a:r>
          <a:endParaRPr lang="en-US" b="1" noProof="0"/>
        </a:p>
      </dgm:t>
    </dgm:pt>
    <dgm:pt modelId="{27201DC7-5F62-41C3-B3EF-355CEA303249}" type="parTrans" cxnId="{A143A24B-C4BA-4EB8-B38A-103A852FA350}">
      <dgm:prSet/>
      <dgm:spPr/>
      <dgm:t>
        <a:bodyPr/>
        <a:lstStyle/>
        <a:p>
          <a:endParaRPr lang="en-US" b="1" noProof="0"/>
        </a:p>
      </dgm:t>
    </dgm:pt>
    <dgm:pt modelId="{D5AFDADA-ED9D-4AC1-9305-E58988FFB376}" type="sibTrans" cxnId="{A143A24B-C4BA-4EB8-B38A-103A852FA350}">
      <dgm:prSet/>
      <dgm:spPr/>
      <dgm:t>
        <a:bodyPr/>
        <a:lstStyle/>
        <a:p>
          <a:endParaRPr lang="en-US" b="1" noProof="0"/>
        </a:p>
      </dgm:t>
    </dgm:pt>
    <dgm:pt modelId="{2B467FFC-B239-4559-A134-46CE7F3FC0F2}">
      <dgm:prSet/>
      <dgm:spPr/>
      <dgm:t>
        <a:bodyPr/>
        <a:lstStyle/>
        <a:p>
          <a:pPr>
            <a:lnSpc>
              <a:spcPct val="100000"/>
            </a:lnSpc>
          </a:pPr>
          <a:r>
            <a:rPr lang="fr-FR" b="1"/>
            <a:t>Leçons tirées &amp; Recommandations</a:t>
          </a:r>
          <a:endParaRPr lang="en-US" b="1" noProof="0"/>
        </a:p>
      </dgm:t>
    </dgm:pt>
    <dgm:pt modelId="{98E32039-BC1F-4885-8940-1C01D2B7804E}" type="parTrans" cxnId="{C984793A-0C34-4A91-B57D-651C6CCA9BDE}">
      <dgm:prSet/>
      <dgm:spPr/>
      <dgm:t>
        <a:bodyPr/>
        <a:lstStyle/>
        <a:p>
          <a:endParaRPr lang="en-US" b="1" noProof="0"/>
        </a:p>
      </dgm:t>
    </dgm:pt>
    <dgm:pt modelId="{7E198E98-36BC-4E3F-ABF9-4782334F2218}" type="sibTrans" cxnId="{C984793A-0C34-4A91-B57D-651C6CCA9BDE}">
      <dgm:prSet/>
      <dgm:spPr/>
      <dgm:t>
        <a:bodyPr/>
        <a:lstStyle/>
        <a:p>
          <a:endParaRPr lang="en-US" b="1" noProof="0"/>
        </a:p>
      </dgm:t>
    </dgm:pt>
    <dgm:pt modelId="{554BE307-170D-F640-B991-8C5A7A654C37}">
      <dgm:prSet/>
      <dgm:spPr/>
      <dgm:t>
        <a:bodyPr/>
        <a:lstStyle/>
        <a:p>
          <a:pPr>
            <a:lnSpc>
              <a:spcPct val="100000"/>
            </a:lnSpc>
          </a:pPr>
          <a:r>
            <a:rPr lang="fr-FR" b="1"/>
            <a:t>Activités menées</a:t>
          </a:r>
          <a:endParaRPr lang="en-US" b="1" noProof="0"/>
        </a:p>
      </dgm:t>
    </dgm:pt>
    <dgm:pt modelId="{00CDC79F-7528-FD47-9CEF-419D7911B4D2}" type="parTrans" cxnId="{57A30767-4665-F44D-BF37-99BB98F2D780}">
      <dgm:prSet/>
      <dgm:spPr/>
      <dgm:t>
        <a:bodyPr/>
        <a:lstStyle/>
        <a:p>
          <a:endParaRPr lang="en-US" b="1" noProof="0"/>
        </a:p>
      </dgm:t>
    </dgm:pt>
    <dgm:pt modelId="{C33BC55A-0E9E-904A-9A71-EF656BB7AEC1}" type="sibTrans" cxnId="{57A30767-4665-F44D-BF37-99BB98F2D780}">
      <dgm:prSet/>
      <dgm:spPr/>
      <dgm:t>
        <a:bodyPr/>
        <a:lstStyle/>
        <a:p>
          <a:endParaRPr lang="en-US" b="1" noProof="0"/>
        </a:p>
      </dgm:t>
    </dgm:pt>
    <dgm:pt modelId="{9554C8E9-89F9-44ED-AED1-DD2E65110643}" type="pres">
      <dgm:prSet presAssocID="{FC025799-1A48-40B7-8069-1C9EBD9AE2D0}" presName="root" presStyleCnt="0">
        <dgm:presLayoutVars>
          <dgm:dir/>
          <dgm:resizeHandles val="exact"/>
        </dgm:presLayoutVars>
      </dgm:prSet>
      <dgm:spPr/>
    </dgm:pt>
    <dgm:pt modelId="{4B2D856A-F63B-457C-8D81-AFAB6EDA495F}" type="pres">
      <dgm:prSet presAssocID="{19B2B48B-25E3-46E2-88A7-D62DDA3ECC94}" presName="compNode" presStyleCnt="0"/>
      <dgm:spPr/>
    </dgm:pt>
    <dgm:pt modelId="{84182695-0423-4E23-ABC2-81101A0A483B}" type="pres">
      <dgm:prSet presAssocID="{19B2B48B-25E3-46E2-88A7-D62DDA3ECC94}"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BA455530-9110-4641-A5B6-088C7FF1752B}" type="pres">
      <dgm:prSet presAssocID="{19B2B48B-25E3-46E2-88A7-D62DDA3ECC94}" presName="spaceRect" presStyleCnt="0"/>
      <dgm:spPr/>
    </dgm:pt>
    <dgm:pt modelId="{6AF9E5D8-EBAF-4C80-9C14-716C42B64BCA}" type="pres">
      <dgm:prSet presAssocID="{19B2B48B-25E3-46E2-88A7-D62DDA3ECC94}" presName="textRect" presStyleLbl="revTx" presStyleIdx="0" presStyleCnt="4">
        <dgm:presLayoutVars>
          <dgm:chMax val="1"/>
          <dgm:chPref val="1"/>
        </dgm:presLayoutVars>
      </dgm:prSet>
      <dgm:spPr/>
    </dgm:pt>
    <dgm:pt modelId="{254AA4D8-6FA4-4433-ACD0-BB62F860B8A1}" type="pres">
      <dgm:prSet presAssocID="{58408D24-95AD-4097-907C-1F03393D90DE}" presName="sibTrans" presStyleCnt="0"/>
      <dgm:spPr/>
    </dgm:pt>
    <dgm:pt modelId="{65CF9F7D-AC2A-6044-BC19-4CAF30255716}" type="pres">
      <dgm:prSet presAssocID="{554BE307-170D-F640-B991-8C5A7A654C37}" presName="compNode" presStyleCnt="0"/>
      <dgm:spPr/>
    </dgm:pt>
    <dgm:pt modelId="{2E00FEE1-85F8-A244-B8F3-4A96B06DC562}" type="pres">
      <dgm:prSet presAssocID="{554BE307-170D-F640-B991-8C5A7A654C37}"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813168CA-E993-AE41-BA9C-74E8B0B5458E}" type="pres">
      <dgm:prSet presAssocID="{554BE307-170D-F640-B991-8C5A7A654C37}" presName="spaceRect" presStyleCnt="0"/>
      <dgm:spPr/>
    </dgm:pt>
    <dgm:pt modelId="{1919CAC4-D16E-A84F-B8F2-28903AA59074}" type="pres">
      <dgm:prSet presAssocID="{554BE307-170D-F640-B991-8C5A7A654C37}" presName="textRect" presStyleLbl="revTx" presStyleIdx="1" presStyleCnt="4">
        <dgm:presLayoutVars>
          <dgm:chMax val="1"/>
          <dgm:chPref val="1"/>
        </dgm:presLayoutVars>
      </dgm:prSet>
      <dgm:spPr/>
    </dgm:pt>
    <dgm:pt modelId="{C8605FE3-6B1F-D342-87AF-BE2961725FF9}" type="pres">
      <dgm:prSet presAssocID="{C33BC55A-0E9E-904A-9A71-EF656BB7AEC1}" presName="sibTrans" presStyleCnt="0"/>
      <dgm:spPr/>
    </dgm:pt>
    <dgm:pt modelId="{92A59B3B-430D-4403-B07D-9D84C5CBA1C9}" type="pres">
      <dgm:prSet presAssocID="{A985EEDC-4307-406C-94B8-9D6A6549AE16}" presName="compNode" presStyleCnt="0"/>
      <dgm:spPr/>
    </dgm:pt>
    <dgm:pt modelId="{90829DA7-F8D8-4A8A-92C0-C8265F9D8F4C}" type="pres">
      <dgm:prSet presAssocID="{A985EEDC-4307-406C-94B8-9D6A6549AE16}"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 modelId="{617C7F5D-63C6-4F59-97DC-C6C993865D04}" type="pres">
      <dgm:prSet presAssocID="{A985EEDC-4307-406C-94B8-9D6A6549AE16}" presName="spaceRect" presStyleCnt="0"/>
      <dgm:spPr/>
    </dgm:pt>
    <dgm:pt modelId="{60BE1166-6AD2-44F7-BEA0-825282471865}" type="pres">
      <dgm:prSet presAssocID="{A985EEDC-4307-406C-94B8-9D6A6549AE16}" presName="textRect" presStyleLbl="revTx" presStyleIdx="2" presStyleCnt="4">
        <dgm:presLayoutVars>
          <dgm:chMax val="1"/>
          <dgm:chPref val="1"/>
        </dgm:presLayoutVars>
      </dgm:prSet>
      <dgm:spPr/>
    </dgm:pt>
    <dgm:pt modelId="{20CF243C-4831-4910-A13C-DD098293B2EE}" type="pres">
      <dgm:prSet presAssocID="{D5AFDADA-ED9D-4AC1-9305-E58988FFB376}" presName="sibTrans" presStyleCnt="0"/>
      <dgm:spPr/>
    </dgm:pt>
    <dgm:pt modelId="{70A25893-7511-4A3E-A14E-A810F5D172EB}" type="pres">
      <dgm:prSet presAssocID="{2B467FFC-B239-4559-A134-46CE7F3FC0F2}" presName="compNode" presStyleCnt="0"/>
      <dgm:spPr/>
    </dgm:pt>
    <dgm:pt modelId="{8B76417C-DB66-4E74-9208-4AEAAD43C7C8}" type="pres">
      <dgm:prSet presAssocID="{2B467FFC-B239-4559-A134-46CE7F3FC0F2}"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pt>
    <dgm:pt modelId="{95138F23-44A9-4FAC-AF9E-74CA77A94C91}" type="pres">
      <dgm:prSet presAssocID="{2B467FFC-B239-4559-A134-46CE7F3FC0F2}" presName="spaceRect" presStyleCnt="0"/>
      <dgm:spPr/>
    </dgm:pt>
    <dgm:pt modelId="{5250F91D-CB5C-4DCE-891E-0B00A9EE2FD8}" type="pres">
      <dgm:prSet presAssocID="{2B467FFC-B239-4559-A134-46CE7F3FC0F2}" presName="textRect" presStyleLbl="revTx" presStyleIdx="3" presStyleCnt="4">
        <dgm:presLayoutVars>
          <dgm:chMax val="1"/>
          <dgm:chPref val="1"/>
        </dgm:presLayoutVars>
      </dgm:prSet>
      <dgm:spPr/>
    </dgm:pt>
  </dgm:ptLst>
  <dgm:cxnLst>
    <dgm:cxn modelId="{50582B00-07F1-41C5-919D-61D9D789133F}" srcId="{FC025799-1A48-40B7-8069-1C9EBD9AE2D0}" destId="{19B2B48B-25E3-46E2-88A7-D62DDA3ECC94}" srcOrd="0" destOrd="0" parTransId="{EEDC8F2A-0E5E-4CD4-8C61-D66F7C34B410}" sibTransId="{58408D24-95AD-4097-907C-1F03393D90DE}"/>
    <dgm:cxn modelId="{B42CA10A-FF98-C041-8B61-3D299815A10B}" type="presOf" srcId="{A985EEDC-4307-406C-94B8-9D6A6549AE16}" destId="{60BE1166-6AD2-44F7-BEA0-825282471865}" srcOrd="0" destOrd="0" presId="urn:microsoft.com/office/officeart/2018/2/layout/IconLabelList"/>
    <dgm:cxn modelId="{73BB1B38-53BE-0A4C-BFD2-2F9196CD71AC}" type="presOf" srcId="{19B2B48B-25E3-46E2-88A7-D62DDA3ECC94}" destId="{6AF9E5D8-EBAF-4C80-9C14-716C42B64BCA}" srcOrd="0" destOrd="0" presId="urn:microsoft.com/office/officeart/2018/2/layout/IconLabelList"/>
    <dgm:cxn modelId="{75FED738-388E-4D93-AA47-06A609D27031}" type="presOf" srcId="{FC025799-1A48-40B7-8069-1C9EBD9AE2D0}" destId="{9554C8E9-89F9-44ED-AED1-DD2E65110643}" srcOrd="0" destOrd="0" presId="urn:microsoft.com/office/officeart/2018/2/layout/IconLabelList"/>
    <dgm:cxn modelId="{C984793A-0C34-4A91-B57D-651C6CCA9BDE}" srcId="{FC025799-1A48-40B7-8069-1C9EBD9AE2D0}" destId="{2B467FFC-B239-4559-A134-46CE7F3FC0F2}" srcOrd="3" destOrd="0" parTransId="{98E32039-BC1F-4885-8940-1C01D2B7804E}" sibTransId="{7E198E98-36BC-4E3F-ABF9-4782334F2218}"/>
    <dgm:cxn modelId="{57A30767-4665-F44D-BF37-99BB98F2D780}" srcId="{FC025799-1A48-40B7-8069-1C9EBD9AE2D0}" destId="{554BE307-170D-F640-B991-8C5A7A654C37}" srcOrd="1" destOrd="0" parTransId="{00CDC79F-7528-FD47-9CEF-419D7911B4D2}" sibTransId="{C33BC55A-0E9E-904A-9A71-EF656BB7AEC1}"/>
    <dgm:cxn modelId="{67426469-180D-4B40-893F-F3A081B8BF1D}" type="presOf" srcId="{554BE307-170D-F640-B991-8C5A7A654C37}" destId="{1919CAC4-D16E-A84F-B8F2-28903AA59074}" srcOrd="0" destOrd="0" presId="urn:microsoft.com/office/officeart/2018/2/layout/IconLabelList"/>
    <dgm:cxn modelId="{A143A24B-C4BA-4EB8-B38A-103A852FA350}" srcId="{FC025799-1A48-40B7-8069-1C9EBD9AE2D0}" destId="{A985EEDC-4307-406C-94B8-9D6A6549AE16}" srcOrd="2" destOrd="0" parTransId="{27201DC7-5F62-41C3-B3EF-355CEA303249}" sibTransId="{D5AFDADA-ED9D-4AC1-9305-E58988FFB376}"/>
    <dgm:cxn modelId="{0593B976-A271-714C-AEB0-8C517FB79131}" type="presOf" srcId="{2B467FFC-B239-4559-A134-46CE7F3FC0F2}" destId="{5250F91D-CB5C-4DCE-891E-0B00A9EE2FD8}" srcOrd="0" destOrd="0" presId="urn:microsoft.com/office/officeart/2018/2/layout/IconLabelList"/>
    <dgm:cxn modelId="{C9A8333A-4E58-9B46-9943-2A8E670C9344}" type="presParOf" srcId="{9554C8E9-89F9-44ED-AED1-DD2E65110643}" destId="{4B2D856A-F63B-457C-8D81-AFAB6EDA495F}" srcOrd="0" destOrd="0" presId="urn:microsoft.com/office/officeart/2018/2/layout/IconLabelList"/>
    <dgm:cxn modelId="{FA0D2072-989F-4846-8C3C-464FA3D4D643}" type="presParOf" srcId="{4B2D856A-F63B-457C-8D81-AFAB6EDA495F}" destId="{84182695-0423-4E23-ABC2-81101A0A483B}" srcOrd="0" destOrd="0" presId="urn:microsoft.com/office/officeart/2018/2/layout/IconLabelList"/>
    <dgm:cxn modelId="{16E83D6E-D9F9-3641-9B03-1AEC4358FB69}" type="presParOf" srcId="{4B2D856A-F63B-457C-8D81-AFAB6EDA495F}" destId="{BA455530-9110-4641-A5B6-088C7FF1752B}" srcOrd="1" destOrd="0" presId="urn:microsoft.com/office/officeart/2018/2/layout/IconLabelList"/>
    <dgm:cxn modelId="{950D348A-9FB7-7C41-812B-4B6B540F9FF6}" type="presParOf" srcId="{4B2D856A-F63B-457C-8D81-AFAB6EDA495F}" destId="{6AF9E5D8-EBAF-4C80-9C14-716C42B64BCA}" srcOrd="2" destOrd="0" presId="urn:microsoft.com/office/officeart/2018/2/layout/IconLabelList"/>
    <dgm:cxn modelId="{AED92FD3-B335-3D4A-B0E0-C4608B523B9C}" type="presParOf" srcId="{9554C8E9-89F9-44ED-AED1-DD2E65110643}" destId="{254AA4D8-6FA4-4433-ACD0-BB62F860B8A1}" srcOrd="1" destOrd="0" presId="urn:microsoft.com/office/officeart/2018/2/layout/IconLabelList"/>
    <dgm:cxn modelId="{540754DD-A714-F84E-B7CB-A9E85E2D4E4C}" type="presParOf" srcId="{9554C8E9-89F9-44ED-AED1-DD2E65110643}" destId="{65CF9F7D-AC2A-6044-BC19-4CAF30255716}" srcOrd="2" destOrd="0" presId="urn:microsoft.com/office/officeart/2018/2/layout/IconLabelList"/>
    <dgm:cxn modelId="{7B9FB6F5-D962-E844-9704-9184A3F9C68E}" type="presParOf" srcId="{65CF9F7D-AC2A-6044-BC19-4CAF30255716}" destId="{2E00FEE1-85F8-A244-B8F3-4A96B06DC562}" srcOrd="0" destOrd="0" presId="urn:microsoft.com/office/officeart/2018/2/layout/IconLabelList"/>
    <dgm:cxn modelId="{99D639A9-2871-6544-A82C-3FD103733BBD}" type="presParOf" srcId="{65CF9F7D-AC2A-6044-BC19-4CAF30255716}" destId="{813168CA-E993-AE41-BA9C-74E8B0B5458E}" srcOrd="1" destOrd="0" presId="urn:microsoft.com/office/officeart/2018/2/layout/IconLabelList"/>
    <dgm:cxn modelId="{C2C2E043-5CB8-1E49-95D5-2BE321898226}" type="presParOf" srcId="{65CF9F7D-AC2A-6044-BC19-4CAF30255716}" destId="{1919CAC4-D16E-A84F-B8F2-28903AA59074}" srcOrd="2" destOrd="0" presId="urn:microsoft.com/office/officeart/2018/2/layout/IconLabelList"/>
    <dgm:cxn modelId="{B4160DAE-0F6A-EA4C-BC08-55D72C641001}" type="presParOf" srcId="{9554C8E9-89F9-44ED-AED1-DD2E65110643}" destId="{C8605FE3-6B1F-D342-87AF-BE2961725FF9}" srcOrd="3" destOrd="0" presId="urn:microsoft.com/office/officeart/2018/2/layout/IconLabelList"/>
    <dgm:cxn modelId="{60556322-F2A4-B94B-8B3A-2CF673A37DF8}" type="presParOf" srcId="{9554C8E9-89F9-44ED-AED1-DD2E65110643}" destId="{92A59B3B-430D-4403-B07D-9D84C5CBA1C9}" srcOrd="4" destOrd="0" presId="urn:microsoft.com/office/officeart/2018/2/layout/IconLabelList"/>
    <dgm:cxn modelId="{3D605283-576B-C741-BB4F-BAB834322B46}" type="presParOf" srcId="{92A59B3B-430D-4403-B07D-9D84C5CBA1C9}" destId="{90829DA7-F8D8-4A8A-92C0-C8265F9D8F4C}" srcOrd="0" destOrd="0" presId="urn:microsoft.com/office/officeart/2018/2/layout/IconLabelList"/>
    <dgm:cxn modelId="{73B67D60-88AE-0543-A275-7AA0A9A94B90}" type="presParOf" srcId="{92A59B3B-430D-4403-B07D-9D84C5CBA1C9}" destId="{617C7F5D-63C6-4F59-97DC-C6C993865D04}" srcOrd="1" destOrd="0" presId="urn:microsoft.com/office/officeart/2018/2/layout/IconLabelList"/>
    <dgm:cxn modelId="{1ABED0EB-7852-AA46-ADE5-D7DEE1E253C6}" type="presParOf" srcId="{92A59B3B-430D-4403-B07D-9D84C5CBA1C9}" destId="{60BE1166-6AD2-44F7-BEA0-825282471865}" srcOrd="2" destOrd="0" presId="urn:microsoft.com/office/officeart/2018/2/layout/IconLabelList"/>
    <dgm:cxn modelId="{7000EE77-9356-F148-BAA5-B44966826389}" type="presParOf" srcId="{9554C8E9-89F9-44ED-AED1-DD2E65110643}" destId="{20CF243C-4831-4910-A13C-DD098293B2EE}" srcOrd="5" destOrd="0" presId="urn:microsoft.com/office/officeart/2018/2/layout/IconLabelList"/>
    <dgm:cxn modelId="{CD22AA29-805F-3A48-AFF4-02296C762BF4}" type="presParOf" srcId="{9554C8E9-89F9-44ED-AED1-DD2E65110643}" destId="{70A25893-7511-4A3E-A14E-A810F5D172EB}" srcOrd="6" destOrd="0" presId="urn:microsoft.com/office/officeart/2018/2/layout/IconLabelList"/>
    <dgm:cxn modelId="{BA5F396B-A788-204E-80A0-C3E60F5644F3}" type="presParOf" srcId="{70A25893-7511-4A3E-A14E-A810F5D172EB}" destId="{8B76417C-DB66-4E74-9208-4AEAAD43C7C8}" srcOrd="0" destOrd="0" presId="urn:microsoft.com/office/officeart/2018/2/layout/IconLabelList"/>
    <dgm:cxn modelId="{0548974C-3376-C448-BC97-FADC9F3878FE}" type="presParOf" srcId="{70A25893-7511-4A3E-A14E-A810F5D172EB}" destId="{95138F23-44A9-4FAC-AF9E-74CA77A94C91}" srcOrd="1" destOrd="0" presId="urn:microsoft.com/office/officeart/2018/2/layout/IconLabelList"/>
    <dgm:cxn modelId="{C4AFC89F-0C1C-3C45-9733-C29B7C565F48}" type="presParOf" srcId="{70A25893-7511-4A3E-A14E-A810F5D172EB}" destId="{5250F91D-CB5C-4DCE-891E-0B00A9EE2FD8}"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82695-0423-4E23-ABC2-81101A0A483B}">
      <dsp:nvSpPr>
        <dsp:cNvPr id="0" name=""/>
        <dsp:cNvSpPr/>
      </dsp:nvSpPr>
      <dsp:spPr>
        <a:xfrm>
          <a:off x="1138979" y="1203549"/>
          <a:ext cx="932563" cy="932563"/>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AF9E5D8-EBAF-4C80-9C14-716C42B64BCA}">
      <dsp:nvSpPr>
        <dsp:cNvPr id="0" name=""/>
        <dsp:cNvSpPr/>
      </dsp:nvSpPr>
      <dsp:spPr>
        <a:xfrm>
          <a:off x="569079" y="2427788"/>
          <a:ext cx="207236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en-US" sz="2100" b="1" kern="1200" noProof="0"/>
            <a:t>Justification</a:t>
          </a:r>
        </a:p>
      </dsp:txBody>
      <dsp:txXfrm>
        <a:off x="569079" y="2427788"/>
        <a:ext cx="2072362" cy="720000"/>
      </dsp:txXfrm>
    </dsp:sp>
    <dsp:sp modelId="{2E00FEE1-85F8-A244-B8F3-4A96B06DC562}">
      <dsp:nvSpPr>
        <dsp:cNvPr id="0" name=""/>
        <dsp:cNvSpPr/>
      </dsp:nvSpPr>
      <dsp:spPr>
        <a:xfrm>
          <a:off x="3574005" y="1203549"/>
          <a:ext cx="932563" cy="932563"/>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19CAC4-D16E-A84F-B8F2-28903AA59074}">
      <dsp:nvSpPr>
        <dsp:cNvPr id="0" name=""/>
        <dsp:cNvSpPr/>
      </dsp:nvSpPr>
      <dsp:spPr>
        <a:xfrm>
          <a:off x="3004105" y="2427788"/>
          <a:ext cx="207236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fr-FR" sz="2100" b="1" kern="1200"/>
            <a:t>Activités menées</a:t>
          </a:r>
          <a:endParaRPr lang="en-US" sz="2100" b="1" kern="1200" noProof="0"/>
        </a:p>
      </dsp:txBody>
      <dsp:txXfrm>
        <a:off x="3004105" y="2427788"/>
        <a:ext cx="2072362" cy="720000"/>
      </dsp:txXfrm>
    </dsp:sp>
    <dsp:sp modelId="{90829DA7-F8D8-4A8A-92C0-C8265F9D8F4C}">
      <dsp:nvSpPr>
        <dsp:cNvPr id="0" name=""/>
        <dsp:cNvSpPr/>
      </dsp:nvSpPr>
      <dsp:spPr>
        <a:xfrm>
          <a:off x="6009031" y="1203549"/>
          <a:ext cx="932563" cy="932563"/>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BE1166-6AD2-44F7-BEA0-825282471865}">
      <dsp:nvSpPr>
        <dsp:cNvPr id="0" name=""/>
        <dsp:cNvSpPr/>
      </dsp:nvSpPr>
      <dsp:spPr>
        <a:xfrm>
          <a:off x="5439131" y="2427788"/>
          <a:ext cx="207236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fr-FR" sz="2100" b="1" kern="1200"/>
            <a:t>Forces &amp; Faiblesses</a:t>
          </a:r>
          <a:endParaRPr lang="en-US" sz="2100" b="1" kern="1200" noProof="0"/>
        </a:p>
      </dsp:txBody>
      <dsp:txXfrm>
        <a:off x="5439131" y="2427788"/>
        <a:ext cx="2072362" cy="720000"/>
      </dsp:txXfrm>
    </dsp:sp>
    <dsp:sp modelId="{8B76417C-DB66-4E74-9208-4AEAAD43C7C8}">
      <dsp:nvSpPr>
        <dsp:cNvPr id="0" name=""/>
        <dsp:cNvSpPr/>
      </dsp:nvSpPr>
      <dsp:spPr>
        <a:xfrm>
          <a:off x="8444057" y="1203549"/>
          <a:ext cx="932563" cy="932563"/>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250F91D-CB5C-4DCE-891E-0B00A9EE2FD8}">
      <dsp:nvSpPr>
        <dsp:cNvPr id="0" name=""/>
        <dsp:cNvSpPr/>
      </dsp:nvSpPr>
      <dsp:spPr>
        <a:xfrm>
          <a:off x="7874157" y="2427788"/>
          <a:ext cx="207236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33450">
            <a:lnSpc>
              <a:spcPct val="100000"/>
            </a:lnSpc>
            <a:spcBef>
              <a:spcPct val="0"/>
            </a:spcBef>
            <a:spcAft>
              <a:spcPct val="35000"/>
            </a:spcAft>
            <a:buNone/>
          </a:pPr>
          <a:r>
            <a:rPr lang="fr-FR" sz="2100" b="1" kern="1200"/>
            <a:t>Leçons tirées &amp; Recommandations</a:t>
          </a:r>
          <a:endParaRPr lang="en-US" sz="2100" b="1" kern="1200" noProof="0"/>
        </a:p>
      </dsp:txBody>
      <dsp:txXfrm>
        <a:off x="7874157" y="2427788"/>
        <a:ext cx="2072362"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C90142-0A7E-1A41-A1C6-3CD1AC1F240C}" type="datetimeFigureOut">
              <a:rPr lang="fr-FR" smtClean="0"/>
              <a:t>09/09/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2C0C65-E41B-6849-9C9A-D8E7B5AE42C5}" type="slidenum">
              <a:rPr lang="fr-FR" smtClean="0"/>
              <a:t>‹#›</a:t>
            </a:fld>
            <a:endParaRPr lang="fr-FR"/>
          </a:p>
        </p:txBody>
      </p:sp>
    </p:spTree>
    <p:extLst>
      <p:ext uri="{BB962C8B-B14F-4D97-AF65-F5344CB8AC3E}">
        <p14:creationId xmlns:p14="http://schemas.microsoft.com/office/powerpoint/2010/main" val="5662726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M"/>
          </a:p>
        </p:txBody>
      </p:sp>
      <p:sp>
        <p:nvSpPr>
          <p:cNvPr id="4" name="Slide Number Placeholder 3"/>
          <p:cNvSpPr>
            <a:spLocks noGrp="1"/>
          </p:cNvSpPr>
          <p:nvPr>
            <p:ph type="sldNum" sz="quarter" idx="5"/>
          </p:nvPr>
        </p:nvSpPr>
        <p:spPr/>
        <p:txBody>
          <a:bodyPr/>
          <a:lstStyle/>
          <a:p>
            <a:fld id="{292C0C65-E41B-6849-9C9A-D8E7B5AE42C5}" type="slidenum">
              <a:rPr lang="fr-FR" smtClean="0"/>
              <a:t>4</a:t>
            </a:fld>
            <a:endParaRPr lang="fr-FR"/>
          </a:p>
        </p:txBody>
      </p:sp>
    </p:spTree>
    <p:extLst>
      <p:ext uri="{BB962C8B-B14F-4D97-AF65-F5344CB8AC3E}">
        <p14:creationId xmlns:p14="http://schemas.microsoft.com/office/powerpoint/2010/main" val="1911667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M" b="1"/>
              <a:t>Suivi de la couverture vaccinale:</a:t>
            </a:r>
            <a:r>
              <a:rPr lang="fr-CM"/>
              <a:t> </a:t>
            </a:r>
            <a:r>
              <a:rPr lang="fr-CM" b="0"/>
              <a:t>Permet d'évaluer l'atteinte des objectifs de vaccination et d'identifier les zones géographiques ou les groupes de population où les taux de couverture sont faibles</a:t>
            </a:r>
            <a:r>
              <a:rPr lang="fr-CM"/>
              <a:t>.</a:t>
            </a:r>
          </a:p>
          <a:p>
            <a:r>
              <a:rPr lang="fr-CM" b="1"/>
              <a:t>Évaluation de l'efficacité des campagnes:</a:t>
            </a:r>
            <a:r>
              <a:rPr lang="fr-CM"/>
              <a:t> </a:t>
            </a:r>
            <a:r>
              <a:rPr lang="fr-CM" b="0"/>
              <a:t>Aide à mesurer l'impact des campagnes de vaccination sur la réduction de l'incidence des maladies évitables par la vaccination.</a:t>
            </a:r>
          </a:p>
          <a:p>
            <a:r>
              <a:rPr lang="fr-CM" b="1"/>
              <a:t>Amélioration de la gestion des stocks:</a:t>
            </a:r>
            <a:r>
              <a:rPr lang="fr-CM"/>
              <a:t> </a:t>
            </a:r>
            <a:r>
              <a:rPr lang="fr-CM" b="0"/>
              <a:t>Permet d'ajuster les commandes de vaccins en fonction de la demande réelle et d'éviter les ruptures de stock ou les gaspillages.</a:t>
            </a:r>
          </a:p>
          <a:p>
            <a:r>
              <a:rPr lang="fr-CM" b="1"/>
              <a:t>Identification des populations à risque:</a:t>
            </a:r>
            <a:r>
              <a:rPr lang="fr-CM"/>
              <a:t> </a:t>
            </a:r>
            <a:r>
              <a:rPr lang="fr-CM" b="0"/>
              <a:t>Facilite l'identification des groupes de population les plus vulnérables et la mise en place de stratégies de vaccination ciblées.</a:t>
            </a:r>
          </a:p>
          <a:p>
            <a:r>
              <a:rPr lang="fr-CM" b="1"/>
              <a:t>Recherche et développement:</a:t>
            </a:r>
            <a:r>
              <a:rPr lang="fr-CM"/>
              <a:t> </a:t>
            </a:r>
            <a:r>
              <a:rPr lang="fr-CM" b="0"/>
              <a:t>Fournit des données précieuses pour la recherche sur les vaccins et le développement de nouvelles stratégies de vaccination.</a:t>
            </a:r>
            <a:endParaRPr lang="fr-FR" b="0"/>
          </a:p>
          <a:p>
            <a:endParaRPr lang="en-CM"/>
          </a:p>
        </p:txBody>
      </p:sp>
      <p:sp>
        <p:nvSpPr>
          <p:cNvPr id="4" name="Slide Number Placeholder 3"/>
          <p:cNvSpPr>
            <a:spLocks noGrp="1"/>
          </p:cNvSpPr>
          <p:nvPr>
            <p:ph type="sldNum" sz="quarter" idx="5"/>
          </p:nvPr>
        </p:nvSpPr>
        <p:spPr/>
        <p:txBody>
          <a:bodyPr/>
          <a:lstStyle/>
          <a:p>
            <a:fld id="{292C0C65-E41B-6849-9C9A-D8E7B5AE42C5}" type="slidenum">
              <a:rPr lang="fr-FR" smtClean="0"/>
              <a:t>7</a:t>
            </a:fld>
            <a:endParaRPr lang="fr-FR"/>
          </a:p>
        </p:txBody>
      </p:sp>
    </p:spTree>
    <p:extLst>
      <p:ext uri="{BB962C8B-B14F-4D97-AF65-F5344CB8AC3E}">
        <p14:creationId xmlns:p14="http://schemas.microsoft.com/office/powerpoint/2010/main" val="34112044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M"/>
          </a:p>
        </p:txBody>
      </p:sp>
      <p:sp>
        <p:nvSpPr>
          <p:cNvPr id="4" name="Slide Number Placeholder 3"/>
          <p:cNvSpPr>
            <a:spLocks noGrp="1"/>
          </p:cNvSpPr>
          <p:nvPr>
            <p:ph type="sldNum" sz="quarter" idx="5"/>
          </p:nvPr>
        </p:nvSpPr>
        <p:spPr/>
        <p:txBody>
          <a:bodyPr/>
          <a:lstStyle/>
          <a:p>
            <a:fld id="{292C0C65-E41B-6849-9C9A-D8E7B5AE42C5}" type="slidenum">
              <a:rPr lang="fr-FR" smtClean="0"/>
              <a:t>8</a:t>
            </a:fld>
            <a:endParaRPr lang="fr-FR"/>
          </a:p>
        </p:txBody>
      </p:sp>
    </p:spTree>
    <p:extLst>
      <p:ext uri="{BB962C8B-B14F-4D97-AF65-F5344CB8AC3E}">
        <p14:creationId xmlns:p14="http://schemas.microsoft.com/office/powerpoint/2010/main" val="42036479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5.pn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0.png"/><Relationship Id="rId5" Type="http://schemas.microsoft.com/office/2007/relationships/hdphoto" Target="../media/hdphoto2.wdp"/><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5988"/>
            <a:ext cx="12192000" cy="7005479"/>
          </a:xfrm>
          <a:prstGeom prst="rect">
            <a:avLst/>
          </a:prstGeom>
          <a:gradFill>
            <a:gsLst>
              <a:gs pos="7000">
                <a:schemeClr val="accent1"/>
              </a:gs>
              <a:gs pos="31000">
                <a:srgbClr val="0070C0"/>
              </a:gs>
              <a:gs pos="76000">
                <a:schemeClr val="accent2"/>
              </a:gs>
              <a:gs pos="49000">
                <a:schemeClr val="accent2"/>
              </a:gs>
            </a:gsLst>
            <a:lin ang="16200000" scaled="1"/>
          </a:gradFill>
        </p:spPr>
      </p:pic>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latin typeface="Calibri" panose="020F0502020204030204" pitchFamily="34" charset="0"/>
                <a:cs typeface="Calibri" panose="020F0502020204030204" pitchFamily="34" charset="0"/>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9600"/>
          </a:xfrm>
        </p:spPr>
        <p:txBody>
          <a:bodyPr anchor="t" anchorCtr="0"/>
          <a:lstStyle>
            <a:lvl1pPr marL="0" indent="0" algn="l">
              <a:lnSpc>
                <a:spcPct val="90000"/>
              </a:lnSpc>
              <a:buNone/>
              <a:defRPr sz="2667" b="0" baseline="0">
                <a:solidFill>
                  <a:schemeClr val="accent2">
                    <a:lumMod val="40000"/>
                    <a:lumOff val="60000"/>
                  </a:schemeClr>
                </a:solidFill>
                <a:latin typeface="Calibri" panose="020F0502020204030204" pitchFamily="34" charset="0"/>
                <a:cs typeface="Calibri" panose="020F0502020204030204" pitchFamily="34" charset="0"/>
              </a:defRPr>
            </a:lvl1pPr>
            <a:lvl2pPr marL="0" algn="ctr">
              <a:lnSpc>
                <a:spcPct val="100000"/>
              </a:lnSpc>
              <a:spcBef>
                <a:spcPts val="9200"/>
              </a:spcBef>
              <a:defRPr sz="2667" b="1">
                <a:solidFill>
                  <a:schemeClr val="bg1"/>
                </a:solidFill>
              </a:defRPr>
            </a:lvl2pPr>
          </a:lstStyle>
          <a:p>
            <a:pPr lvl="0"/>
            <a:r>
              <a:rPr lang="en-GB" noProof="0"/>
              <a:t>SUBTITLE</a:t>
            </a:r>
          </a:p>
        </p:txBody>
      </p:sp>
      <p:pic>
        <p:nvPicPr>
          <p:cNvPr id="3" name="Object 1">
            <a:extLst>
              <a:ext uri="{FF2B5EF4-FFF2-40B4-BE49-F238E27FC236}">
                <a16:creationId xmlns:a16="http://schemas.microsoft.com/office/drawing/2014/main" id="{B660FBB5-8613-A389-C5A1-853A89F01473}"/>
              </a:ext>
            </a:extLst>
          </p:cNvPr>
          <p:cNvPicPr>
            <a:picLocks noChangeAspect="1"/>
          </p:cNvPicPr>
          <p:nvPr userDrawn="1"/>
        </p:nvPicPr>
        <p:blipFill>
          <a:blip r:embed="rId3">
            <a:extLst>
              <a:ext uri="{BEBA8EAE-BF5A-486C-A8C5-ECC9F3942E4B}">
                <a14:imgProps xmlns:a14="http://schemas.microsoft.com/office/drawing/2010/main">
                  <a14:imgLayer r:embed="rId4">
                    <a14:imgEffect>
                      <a14:backgroundRemoval t="9983" b="99957" l="637" r="98553">
                        <a14:foregroundMark x1="231" y1="91406" x2="7030" y2="91488"/>
                        <a14:foregroundMark x1="43798" y1="82641" x2="75579" y2="72917"/>
                        <a14:foregroundMark x1="75579" y1="72917" x2="84375" y2="74826"/>
                        <a14:foregroundMark x1="84375" y1="74826" x2="92361" y2="81641"/>
                        <a14:foregroundMark x1="92361" y1="81641" x2="96644" y2="94748"/>
                        <a14:foregroundMark x1="96644" y1="94748" x2="97049" y2="99957"/>
                        <a14:foregroundMark x1="64873" y1="72049" x2="86053" y2="71267"/>
                        <a14:foregroundMark x1="86053" y1="71267" x2="94676" y2="73611"/>
                        <a14:foregroundMark x1="94676" y1="73611" x2="98611" y2="80165"/>
                        <a14:foregroundMark x1="3299" y1="97222" x2="637" y2="92578"/>
                        <a14:foregroundMark x1="42998" y1="83290" x2="40799" y2="84852"/>
                        <a14:foregroundMark x1="7523" y1="92969" x2="15914" y2="93359"/>
                        <a14:foregroundMark x1="15914" y1="93359" x2="21817" y2="92188"/>
                        <a14:foregroundMark x1="7292" y1="91797" x2="13252" y2="92578"/>
                        <a14:backgroundMark x1="40270" y1="84530" x2="11384" y2="91658"/>
                        <a14:backgroundMark x1="40698" y1="83916" x2="39294" y2="84071"/>
                        <a14:backgroundMark x1="43461" y1="81337" x2="40567" y2="83681"/>
                        <a14:backgroundMark x1="43229" y1="80946" x2="42679" y2="83095"/>
                      </a14:backgroundRemoval>
                    </a14:imgEffect>
                  </a14:imgLayer>
                </a14:imgProps>
              </a:ext>
            </a:extLst>
          </a:blip>
          <a:stretch>
            <a:fillRect/>
          </a:stretch>
        </p:blipFill>
        <p:spPr>
          <a:xfrm>
            <a:off x="4" y="-65989"/>
            <a:ext cx="12191996" cy="7005479"/>
          </a:xfrm>
          <a:prstGeom prst="rect">
            <a:avLst/>
          </a:prstGeom>
        </p:spPr>
      </p:pic>
      <p:sp>
        <p:nvSpPr>
          <p:cNvPr id="6" name="Espace réservé pour une image  5">
            <a:extLst>
              <a:ext uri="{FF2B5EF4-FFF2-40B4-BE49-F238E27FC236}">
                <a16:creationId xmlns:a16="http://schemas.microsoft.com/office/drawing/2014/main" id="{32B6EAF1-ED98-C8B5-16DA-49378852B43C}"/>
              </a:ext>
            </a:extLst>
          </p:cNvPr>
          <p:cNvSpPr>
            <a:spLocks noGrp="1"/>
          </p:cNvSpPr>
          <p:nvPr>
            <p:ph type="pic" sz="quarter" idx="17"/>
          </p:nvPr>
        </p:nvSpPr>
        <p:spPr>
          <a:xfrm>
            <a:off x="7225748" y="1"/>
            <a:ext cx="4871158" cy="4679352"/>
          </a:xfrm>
          <a:prstGeom prst="teardrop">
            <a:avLst/>
          </a:prstGeom>
          <a:solidFill>
            <a:srgbClr val="A7A7A7"/>
          </a:solidFill>
        </p:spPr>
        <p:txBody>
          <a:bodyPr/>
          <a:lstStyle/>
          <a:p>
            <a:endParaRPr lang="fr-FR"/>
          </a:p>
        </p:txBody>
      </p:sp>
      <p:pic>
        <p:nvPicPr>
          <p:cNvPr id="2" name="Image 1" descr="Une image contenant objets métalliques, matériel&#10;&#10;Description générée automatiquement">
            <a:extLst>
              <a:ext uri="{FF2B5EF4-FFF2-40B4-BE49-F238E27FC236}">
                <a16:creationId xmlns:a16="http://schemas.microsoft.com/office/drawing/2014/main" id="{415879BB-AF68-7113-293D-6CBCD24B3CC1}"/>
              </a:ext>
            </a:extLst>
          </p:cNvPr>
          <p:cNvPicPr>
            <a:picLocks noChangeAspect="1"/>
          </p:cNvPicPr>
          <p:nvPr userDrawn="1"/>
        </p:nvPicPr>
        <p:blipFill>
          <a:blip r:embed="rId5">
            <a:duotone>
              <a:prstClr val="black"/>
              <a:schemeClr val="accent2">
                <a:tint val="45000"/>
                <a:satMod val="400000"/>
              </a:schemeClr>
            </a:duotone>
            <a:alphaModFix amt="20000"/>
            <a:extLst>
              <a:ext uri="{BEBA8EAE-BF5A-486C-A8C5-ECC9F3942E4B}">
                <a14:imgProps xmlns:a14="http://schemas.microsoft.com/office/drawing/2010/main">
                  <a14:imgLayer r:embed="rId6">
                    <a14:imgEffect>
                      <a14:backgroundRemoval t="10000" b="90000" l="10000" r="90000"/>
                    </a14:imgEffect>
                    <a14:imgEffect>
                      <a14:saturation sat="0"/>
                    </a14:imgEffect>
                  </a14:imgLayer>
                </a14:imgProps>
              </a:ext>
            </a:extLst>
          </a:blip>
          <a:stretch>
            <a:fillRect/>
          </a:stretch>
        </p:blipFill>
        <p:spPr>
          <a:xfrm>
            <a:off x="95094" y="19422"/>
            <a:ext cx="5407942" cy="6505955"/>
          </a:xfrm>
          <a:prstGeom prst="rect">
            <a:avLst/>
          </a:prstGeom>
        </p:spPr>
      </p:pic>
      <p:pic>
        <p:nvPicPr>
          <p:cNvPr id="10" name="Image 9" descr="Une image contenant clipart, Graphique, illustration, conception&#10;&#10;Description générée automatiquement">
            <a:extLst>
              <a:ext uri="{FF2B5EF4-FFF2-40B4-BE49-F238E27FC236}">
                <a16:creationId xmlns:a16="http://schemas.microsoft.com/office/drawing/2014/main" id="{1C72DEDD-BB84-264A-07E5-513F7A253F9F}"/>
              </a:ext>
            </a:extLst>
          </p:cNvPr>
          <p:cNvPicPr>
            <a:picLocks noChangeAspect="1"/>
          </p:cNvPicPr>
          <p:nvPr userDrawn="1"/>
        </p:nvPicPr>
        <p:blipFill>
          <a:blip r:embed="rId7"/>
          <a:stretch>
            <a:fillRect/>
          </a:stretch>
        </p:blipFill>
        <p:spPr>
          <a:xfrm>
            <a:off x="8638105" y="5216190"/>
            <a:ext cx="1078550" cy="1221720"/>
          </a:xfrm>
          <a:prstGeom prst="rect">
            <a:avLst/>
          </a:prstGeom>
        </p:spPr>
      </p:pic>
    </p:spTree>
    <p:extLst>
      <p:ext uri="{BB962C8B-B14F-4D97-AF65-F5344CB8AC3E}">
        <p14:creationId xmlns:p14="http://schemas.microsoft.com/office/powerpoint/2010/main" val="31937735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606287" cy="757864"/>
          </a:xfrm>
          <a:prstGeom prst="rect">
            <a:avLst/>
          </a:prstGeom>
          <a:solidFill>
            <a:schemeClr val="bg1"/>
          </a:solidFill>
        </p:spPr>
      </p:pic>
      <p:sp>
        <p:nvSpPr>
          <p:cNvPr id="2" name="Titre 1"/>
          <p:cNvSpPr>
            <a:spLocks noGrp="1"/>
          </p:cNvSpPr>
          <p:nvPr>
            <p:ph type="title" hasCustomPrompt="1"/>
          </p:nvPr>
        </p:nvSpPr>
        <p:spPr bwMode="gray">
          <a:xfrm>
            <a:off x="904972" y="105421"/>
            <a:ext cx="11118521" cy="627243"/>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904972" y="1073242"/>
            <a:ext cx="11118521" cy="5176730"/>
          </a:xfrm>
        </p:spPr>
        <p:txBody>
          <a:bodyPr/>
          <a:lstStyle/>
          <a:p>
            <a:pPr lvl="0"/>
            <a:r>
              <a:rPr lang="en-GB" noProof="0"/>
              <a:t>Text level 1</a:t>
            </a:r>
          </a:p>
          <a:p>
            <a:pPr lvl="1"/>
            <a:r>
              <a:rPr lang="en-GB" noProof="0"/>
              <a:t>Text level 2</a:t>
            </a:r>
          </a:p>
          <a:p>
            <a:pPr lvl="2"/>
            <a:r>
              <a:rPr lang="en-GB" noProof="0"/>
              <a:t>Text level 3</a:t>
            </a:r>
          </a:p>
        </p:txBody>
      </p:sp>
      <p:sp>
        <p:nvSpPr>
          <p:cNvPr id="12" name="Espace réservé du numéro de diapositive 11"/>
          <p:cNvSpPr>
            <a:spLocks noGrp="1"/>
          </p:cNvSpPr>
          <p:nvPr>
            <p:ph type="sldNum" sz="quarter" idx="16"/>
          </p:nvPr>
        </p:nvSpPr>
        <p:spPr bwMode="gray">
          <a:xfrm>
            <a:off x="11625007" y="6526388"/>
            <a:ext cx="469583" cy="226191"/>
          </a:xfrm>
        </p:spPr>
        <p:txBody>
          <a:bodyPr/>
          <a:lstStyle/>
          <a:p>
            <a:pPr algn="l"/>
            <a:fld id="{733122C9-A0B9-462F-8757-0847AD287B63}" type="slidenum">
              <a:rPr lang="en-GB" noProof="0" smtClean="0"/>
              <a:pPr algn="l"/>
              <a:t>‹#›</a:t>
            </a:fld>
            <a:endParaRPr lang="en-GB" noProof="0"/>
          </a:p>
        </p:txBody>
      </p:sp>
      <p:sp>
        <p:nvSpPr>
          <p:cNvPr id="16" name="Rectangle 15"/>
          <p:cNvSpPr/>
          <p:nvPr userDrawn="1"/>
        </p:nvSpPr>
        <p:spPr bwMode="gray">
          <a:xfrm>
            <a:off x="904972" y="857233"/>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3" name="Image 2" descr="Une image contenant objets métalliques, matériel&#10;&#10;Description générée automatiquement">
            <a:extLst>
              <a:ext uri="{FF2B5EF4-FFF2-40B4-BE49-F238E27FC236}">
                <a16:creationId xmlns:a16="http://schemas.microsoft.com/office/drawing/2014/main" id="{D9340FFD-7D05-FBBD-CBC2-A372F1CC3BA4}"/>
              </a:ext>
            </a:extLst>
          </p:cNvPr>
          <p:cNvPicPr>
            <a:picLocks noChangeAspect="1"/>
          </p:cNvPicPr>
          <p:nvPr userDrawn="1"/>
        </p:nvPicPr>
        <p:blipFill>
          <a:blip r:embed="rId3">
            <a:duotone>
              <a:schemeClr val="accent1">
                <a:shade val="45000"/>
                <a:satMod val="135000"/>
              </a:schemeClr>
              <a:prstClr val="white"/>
            </a:duotone>
            <a:alphaModFix amt="8000"/>
            <a:extLst>
              <a:ext uri="{BEBA8EAE-BF5A-486C-A8C5-ECC9F3942E4B}">
                <a14:imgProps xmlns:a14="http://schemas.microsoft.com/office/drawing/2010/main">
                  <a14:imgLayer r:embed="rId4">
                    <a14:imgEffect>
                      <a14:backgroundRemoval t="10000" b="90000" l="10000" r="90000"/>
                    </a14:imgEffect>
                    <a14:imgEffect>
                      <a14:sharpenSoften amount="50000"/>
                    </a14:imgEffect>
                    <a14:imgEffect>
                      <a14:brightnessContrast bright="40000"/>
                    </a14:imgEffect>
                  </a14:imgLayer>
                </a14:imgProps>
              </a:ext>
            </a:extLst>
          </a:blip>
          <a:stretch>
            <a:fillRect/>
          </a:stretch>
        </p:blipFill>
        <p:spPr>
          <a:xfrm>
            <a:off x="6613236" y="757865"/>
            <a:ext cx="5985164" cy="6266294"/>
          </a:xfrm>
          <a:prstGeom prst="rect">
            <a:avLst/>
          </a:prstGeom>
        </p:spPr>
      </p:pic>
    </p:spTree>
    <p:extLst>
      <p:ext uri="{BB962C8B-B14F-4D97-AF65-F5344CB8AC3E}">
        <p14:creationId xmlns:p14="http://schemas.microsoft.com/office/powerpoint/2010/main" val="3162212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37C0CE44-E23E-130E-D50D-60A88EE475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608074" cy="757864"/>
          </a:xfrm>
          <a:prstGeom prst="rect">
            <a:avLst/>
          </a:prstGeom>
          <a:solidFill>
            <a:schemeClr val="bg1"/>
          </a:solidFill>
        </p:spPr>
      </p:pic>
      <p:sp>
        <p:nvSpPr>
          <p:cNvPr id="2" name="Titre 1"/>
          <p:cNvSpPr>
            <a:spLocks noGrp="1"/>
          </p:cNvSpPr>
          <p:nvPr>
            <p:ph type="title" hasCustomPrompt="1"/>
          </p:nvPr>
        </p:nvSpPr>
        <p:spPr bwMode="gray">
          <a:xfrm>
            <a:off x="608074" y="146107"/>
            <a:ext cx="11195349" cy="609569"/>
          </a:xfrm>
        </p:spPr>
        <p:txBody>
          <a:bodyPr/>
          <a:lstStyle/>
          <a:p>
            <a:r>
              <a:rPr lang="en-GB" noProof="0"/>
              <a:t>TITLE</a:t>
            </a:r>
          </a:p>
        </p:txBody>
      </p:sp>
      <p:sp>
        <p:nvSpPr>
          <p:cNvPr id="3" name="Espace réservé du contenu 2"/>
          <p:cNvSpPr>
            <a:spLocks noGrp="1"/>
          </p:cNvSpPr>
          <p:nvPr>
            <p:ph idx="1" hasCustomPrompt="1"/>
          </p:nvPr>
        </p:nvSpPr>
        <p:spPr bwMode="gray">
          <a:xfrm>
            <a:off x="4807670" y="1086700"/>
            <a:ext cx="6995753" cy="5101664"/>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p:txBody>
      </p:sp>
      <p:sp>
        <p:nvSpPr>
          <p:cNvPr id="9" name="Espace réservé pour une image  8"/>
          <p:cNvSpPr>
            <a:spLocks noGrp="1"/>
          </p:cNvSpPr>
          <p:nvPr>
            <p:ph type="pic" sz="quarter" idx="13" hasCustomPrompt="1"/>
          </p:nvPr>
        </p:nvSpPr>
        <p:spPr bwMode="gray">
          <a:xfrm>
            <a:off x="608074" y="1090082"/>
            <a:ext cx="4078225" cy="5154163"/>
          </a:xfrm>
        </p:spPr>
        <p:txBody>
          <a:bodyPr tIns="1008000" anchor="ctr" anchorCtr="0"/>
          <a:lstStyle>
            <a:lvl1pPr algn="ctr">
              <a:defRPr/>
            </a:lvl1pPr>
          </a:lstStyle>
          <a:p>
            <a:r>
              <a:rPr lang="en-GB" noProof="0"/>
              <a:t>Select your own photo</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4" name="Rectangle 3">
            <a:extLst>
              <a:ext uri="{FF2B5EF4-FFF2-40B4-BE49-F238E27FC236}">
                <a16:creationId xmlns:a16="http://schemas.microsoft.com/office/drawing/2014/main" id="{5F833F22-D1B8-AA29-05AE-4F7EDA62FDFB}"/>
              </a:ext>
            </a:extLst>
          </p:cNvPr>
          <p:cNvSpPr/>
          <p:nvPr userDrawn="1"/>
        </p:nvSpPr>
        <p:spPr bwMode="gray">
          <a:xfrm>
            <a:off x="608074" y="832506"/>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5" name="Image 4" descr="Une image contenant objets métalliques, matériel&#10;&#10;Description générée automatiquement">
            <a:extLst>
              <a:ext uri="{FF2B5EF4-FFF2-40B4-BE49-F238E27FC236}">
                <a16:creationId xmlns:a16="http://schemas.microsoft.com/office/drawing/2014/main" id="{AE136028-B0AB-87FF-6C28-F4152AFEAA14}"/>
              </a:ext>
            </a:extLst>
          </p:cNvPr>
          <p:cNvPicPr>
            <a:picLocks noChangeAspect="1"/>
          </p:cNvPicPr>
          <p:nvPr userDrawn="1"/>
        </p:nvPicPr>
        <p:blipFill>
          <a:blip r:embed="rId3">
            <a:duotone>
              <a:schemeClr val="accent1">
                <a:shade val="45000"/>
                <a:satMod val="135000"/>
              </a:schemeClr>
              <a:prstClr val="white"/>
            </a:duotone>
            <a:alphaModFix amt="8000"/>
            <a:extLst>
              <a:ext uri="{BEBA8EAE-BF5A-486C-A8C5-ECC9F3942E4B}">
                <a14:imgProps xmlns:a14="http://schemas.microsoft.com/office/drawing/2010/main">
                  <a14:imgLayer r:embed="rId4">
                    <a14:imgEffect>
                      <a14:backgroundRemoval t="10000" b="90000" l="10000" r="90000"/>
                    </a14:imgEffect>
                    <a14:imgEffect>
                      <a14:sharpenSoften amount="50000"/>
                    </a14:imgEffect>
                    <a14:imgEffect>
                      <a14:brightnessContrast bright="40000"/>
                    </a14:imgEffect>
                  </a14:imgLayer>
                </a14:imgProps>
              </a:ext>
            </a:extLst>
          </a:blip>
          <a:stretch>
            <a:fillRect/>
          </a:stretch>
        </p:blipFill>
        <p:spPr>
          <a:xfrm>
            <a:off x="8538258" y="2907215"/>
            <a:ext cx="3653742" cy="3825362"/>
          </a:xfrm>
          <a:prstGeom prst="rect">
            <a:avLst/>
          </a:prstGeom>
        </p:spPr>
      </p:pic>
    </p:spTree>
    <p:extLst>
      <p:ext uri="{BB962C8B-B14F-4D97-AF65-F5344CB8AC3E}">
        <p14:creationId xmlns:p14="http://schemas.microsoft.com/office/powerpoint/2010/main" val="2055124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678362" y="1037940"/>
            <a:ext cx="3362673" cy="5223266"/>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4319950" y="990601"/>
            <a:ext cx="3362674" cy="5316324"/>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4" name="Espace réservé du contenu 2">
            <a:extLst>
              <a:ext uri="{FF2B5EF4-FFF2-40B4-BE49-F238E27FC236}">
                <a16:creationId xmlns:a16="http://schemas.microsoft.com/office/drawing/2014/main" id="{422D5BC7-F21D-9708-EADC-C1385927D800}"/>
              </a:ext>
            </a:extLst>
          </p:cNvPr>
          <p:cNvSpPr>
            <a:spLocks noGrp="1"/>
          </p:cNvSpPr>
          <p:nvPr>
            <p:ph idx="14" hasCustomPrompt="1"/>
          </p:nvPr>
        </p:nvSpPr>
        <p:spPr bwMode="gray">
          <a:xfrm>
            <a:off x="8150964" y="990601"/>
            <a:ext cx="3362674" cy="5316324"/>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6" name="Rectangle 5">
            <a:extLst>
              <a:ext uri="{FF2B5EF4-FFF2-40B4-BE49-F238E27FC236}">
                <a16:creationId xmlns:a16="http://schemas.microsoft.com/office/drawing/2014/main" id="{6BC4221B-65ED-4B19-DFDE-39D857682426}"/>
              </a:ext>
            </a:extLst>
          </p:cNvPr>
          <p:cNvSpPr/>
          <p:nvPr userDrawn="1"/>
        </p:nvSpPr>
        <p:spPr bwMode="gray">
          <a:xfrm>
            <a:off x="672000" y="774385"/>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7" name="Image 6">
            <a:extLst>
              <a:ext uri="{FF2B5EF4-FFF2-40B4-BE49-F238E27FC236}">
                <a16:creationId xmlns:a16="http://schemas.microsoft.com/office/drawing/2014/main" id="{4CCAF4F2-005C-53E6-1C8B-16BBE8ABDDB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6521"/>
            <a:ext cx="672000" cy="757864"/>
          </a:xfrm>
          <a:prstGeom prst="rect">
            <a:avLst/>
          </a:prstGeom>
          <a:solidFill>
            <a:schemeClr val="bg1"/>
          </a:solidFill>
        </p:spPr>
      </p:pic>
      <p:sp>
        <p:nvSpPr>
          <p:cNvPr id="2" name="Titre 1"/>
          <p:cNvSpPr>
            <a:spLocks noGrp="1"/>
          </p:cNvSpPr>
          <p:nvPr>
            <p:ph type="title" hasCustomPrompt="1"/>
          </p:nvPr>
        </p:nvSpPr>
        <p:spPr bwMode="gray">
          <a:xfrm>
            <a:off x="678362" y="217251"/>
            <a:ext cx="10841638" cy="516175"/>
          </a:xfrm>
        </p:spPr>
        <p:txBody>
          <a:bodyPr/>
          <a:lstStyle/>
          <a:p>
            <a:r>
              <a:rPr lang="en-GB" noProof="0"/>
              <a:t>TITLE</a:t>
            </a:r>
          </a:p>
        </p:txBody>
      </p:sp>
    </p:spTree>
    <p:extLst>
      <p:ext uri="{BB962C8B-B14F-4D97-AF65-F5344CB8AC3E}">
        <p14:creationId xmlns:p14="http://schemas.microsoft.com/office/powerpoint/2010/main" val="6258367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3074BDAD-D4A8-20EB-3E70-77DF62ECE0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672000" cy="757864"/>
          </a:xfrm>
          <a:prstGeom prst="rect">
            <a:avLst/>
          </a:prstGeom>
          <a:solidFill>
            <a:schemeClr val="bg1"/>
          </a:solidFill>
        </p:spPr>
      </p:pic>
      <p:sp>
        <p:nvSpPr>
          <p:cNvPr id="3" name="Espace réservé du contenu 2"/>
          <p:cNvSpPr>
            <a:spLocks noGrp="1"/>
          </p:cNvSpPr>
          <p:nvPr>
            <p:ph idx="1" hasCustomPrompt="1"/>
          </p:nvPr>
        </p:nvSpPr>
        <p:spPr bwMode="gray">
          <a:xfrm>
            <a:off x="672000" y="3466755"/>
            <a:ext cx="10848000" cy="249667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p:txBody>
      </p:sp>
      <p:sp>
        <p:nvSpPr>
          <p:cNvPr id="10" name="Espace réservé du texte 9"/>
          <p:cNvSpPr>
            <a:spLocks noGrp="1"/>
          </p:cNvSpPr>
          <p:nvPr>
            <p:ph type="body" sz="quarter" idx="13" hasCustomPrompt="1"/>
          </p:nvPr>
        </p:nvSpPr>
        <p:spPr bwMode="gray">
          <a:xfrm>
            <a:off x="672000" y="1177399"/>
            <a:ext cx="10848000" cy="2059693"/>
          </a:xfrm>
        </p:spPr>
        <p:txBody>
          <a:bodyPr lIns="0">
            <a:noAutofit/>
          </a:bodyPr>
          <a:lstStyle>
            <a:lvl1pPr marL="342900" indent="-342900">
              <a:buFont typeface="Arial" panose="020B0604020202020204" pitchFamily="34" charset="0"/>
              <a:buChar char="•"/>
              <a:defRPr/>
            </a:lvl1pPr>
          </a:lstStyle>
          <a:p>
            <a:pPr lvl="0"/>
            <a:r>
              <a:rPr lang="en-GB" noProof="0"/>
              <a:t>Text level 1</a:t>
            </a:r>
          </a:p>
          <a:p>
            <a:pPr lvl="1"/>
            <a:r>
              <a:rPr lang="en-GB" noProof="0"/>
              <a:t>Text level 2</a:t>
            </a:r>
          </a:p>
          <a:p>
            <a:pPr lvl="2"/>
            <a:r>
              <a:rPr lang="en-GB" noProof="0"/>
              <a:t>Text level 3</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5" name="Titre 4"/>
          <p:cNvSpPr>
            <a:spLocks noGrp="1"/>
          </p:cNvSpPr>
          <p:nvPr>
            <p:ph type="title"/>
          </p:nvPr>
        </p:nvSpPr>
        <p:spPr>
          <a:xfrm>
            <a:off x="672000" y="190349"/>
            <a:ext cx="10864300" cy="609569"/>
          </a:xfrm>
        </p:spPr>
        <p:txBody>
          <a:bodyPr/>
          <a:lstStyle/>
          <a:p>
            <a:r>
              <a:rPr lang="en-US" noProof="0"/>
              <a:t>Click to edit Master title style</a:t>
            </a:r>
            <a:endParaRPr lang="en-GB" noProof="0"/>
          </a:p>
        </p:txBody>
      </p:sp>
      <p:pic>
        <p:nvPicPr>
          <p:cNvPr id="4" name="Image 3" descr="Une image contenant objets métalliques, matériel&#10;&#10;Description générée automatiquement">
            <a:extLst>
              <a:ext uri="{FF2B5EF4-FFF2-40B4-BE49-F238E27FC236}">
                <a16:creationId xmlns:a16="http://schemas.microsoft.com/office/drawing/2014/main" id="{A160BFEF-5711-3F31-9257-29ABF21CE7EC}"/>
              </a:ext>
            </a:extLst>
          </p:cNvPr>
          <p:cNvPicPr>
            <a:picLocks noChangeAspect="1"/>
          </p:cNvPicPr>
          <p:nvPr userDrawn="1"/>
        </p:nvPicPr>
        <p:blipFill>
          <a:blip r:embed="rId3">
            <a:duotone>
              <a:schemeClr val="accent1">
                <a:shade val="45000"/>
                <a:satMod val="135000"/>
              </a:schemeClr>
              <a:prstClr val="white"/>
            </a:duotone>
            <a:alphaModFix amt="8000"/>
            <a:extLst>
              <a:ext uri="{BEBA8EAE-BF5A-486C-A8C5-ECC9F3942E4B}">
                <a14:imgProps xmlns:a14="http://schemas.microsoft.com/office/drawing/2010/main">
                  <a14:imgLayer r:embed="rId4">
                    <a14:imgEffect>
                      <a14:backgroundRemoval t="10000" b="90000" l="10000" r="90000"/>
                    </a14:imgEffect>
                    <a14:imgEffect>
                      <a14:sharpenSoften amount="50000"/>
                    </a14:imgEffect>
                    <a14:imgEffect>
                      <a14:brightnessContrast bright="40000"/>
                    </a14:imgEffect>
                  </a14:imgLayer>
                </a14:imgProps>
              </a:ext>
            </a:extLst>
          </a:blip>
          <a:stretch>
            <a:fillRect/>
          </a:stretch>
        </p:blipFill>
        <p:spPr>
          <a:xfrm>
            <a:off x="5725845" y="378932"/>
            <a:ext cx="6430529" cy="6732577"/>
          </a:xfrm>
          <a:prstGeom prst="rect">
            <a:avLst/>
          </a:prstGeom>
        </p:spPr>
      </p:pic>
      <p:sp>
        <p:nvSpPr>
          <p:cNvPr id="6" name="Rectangle 5">
            <a:extLst>
              <a:ext uri="{FF2B5EF4-FFF2-40B4-BE49-F238E27FC236}">
                <a16:creationId xmlns:a16="http://schemas.microsoft.com/office/drawing/2014/main" id="{C61B2896-C61A-9213-4106-3E7286C0E4FD}"/>
              </a:ext>
            </a:extLst>
          </p:cNvPr>
          <p:cNvSpPr/>
          <p:nvPr userDrawn="1"/>
        </p:nvSpPr>
        <p:spPr bwMode="gray">
          <a:xfrm>
            <a:off x="672000" y="1029581"/>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578917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1359A936-1EF7-2FF1-D6F0-2D94E11569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357"/>
            <a:ext cx="671998" cy="757864"/>
          </a:xfrm>
          <a:prstGeom prst="rect">
            <a:avLst/>
          </a:prstGeom>
          <a:solidFill>
            <a:schemeClr val="bg1"/>
          </a:solidFill>
        </p:spPr>
      </p:pic>
      <p:sp>
        <p:nvSpPr>
          <p:cNvPr id="2" name="Titre 1"/>
          <p:cNvSpPr>
            <a:spLocks noGrp="1"/>
          </p:cNvSpPr>
          <p:nvPr>
            <p:ph type="title" hasCustomPrompt="1"/>
          </p:nvPr>
        </p:nvSpPr>
        <p:spPr bwMode="gray">
          <a:xfrm>
            <a:off x="671998" y="240584"/>
            <a:ext cx="6384967" cy="536149"/>
          </a:xfrm>
        </p:spPr>
        <p:txBody>
          <a:bodyPr/>
          <a:lstStyle/>
          <a:p>
            <a:r>
              <a:rPr lang="en-GB" noProof="0"/>
              <a:t>TITLE</a:t>
            </a:r>
          </a:p>
        </p:txBody>
      </p:sp>
      <p:sp>
        <p:nvSpPr>
          <p:cNvPr id="3" name="Espace réservé du contenu 2"/>
          <p:cNvSpPr>
            <a:spLocks noGrp="1"/>
          </p:cNvSpPr>
          <p:nvPr>
            <p:ph idx="1" hasCustomPrompt="1"/>
          </p:nvPr>
        </p:nvSpPr>
        <p:spPr bwMode="gray">
          <a:xfrm>
            <a:off x="671999" y="3307201"/>
            <a:ext cx="6384967" cy="2498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p:txBody>
      </p:sp>
      <p:sp>
        <p:nvSpPr>
          <p:cNvPr id="10" name="Espace réservé du texte 9"/>
          <p:cNvSpPr>
            <a:spLocks noGrp="1"/>
          </p:cNvSpPr>
          <p:nvPr>
            <p:ph type="body" sz="quarter" idx="13" hasCustomPrompt="1"/>
          </p:nvPr>
        </p:nvSpPr>
        <p:spPr bwMode="gray">
          <a:xfrm>
            <a:off x="671999" y="1016883"/>
            <a:ext cx="6384967" cy="2050168"/>
          </a:xfrm>
        </p:spPr>
        <p:txBody>
          <a:bodyPr/>
          <a:lstStyle/>
          <a:p>
            <a:pPr lvl="0"/>
            <a:r>
              <a:rPr lang="en-GB" noProof="0"/>
              <a:t>Text level 1</a:t>
            </a:r>
          </a:p>
          <a:p>
            <a:pPr lvl="1"/>
            <a:r>
              <a:rPr lang="en-GB" noProof="0"/>
              <a:t>Text level 2</a:t>
            </a:r>
          </a:p>
          <a:p>
            <a:pPr lvl="2"/>
            <a:r>
              <a:rPr lang="en-GB" noProof="0"/>
              <a:t>Text level 3</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7680176" y="753401"/>
            <a:ext cx="3839824" cy="5014516"/>
          </a:xfrm>
        </p:spPr>
        <p:txBody>
          <a:bodyPr tIns="1008000" anchor="ctr" anchorCtr="0"/>
          <a:lstStyle>
            <a:lvl1pPr algn="ctr">
              <a:defRPr/>
            </a:lvl1pPr>
          </a:lstStyle>
          <a:p>
            <a:r>
              <a:rPr lang="en-GB" noProof="0"/>
              <a:t>Select your own photo</a:t>
            </a:r>
          </a:p>
        </p:txBody>
      </p:sp>
      <p:sp>
        <p:nvSpPr>
          <p:cNvPr id="5" name="Rectangle 4">
            <a:extLst>
              <a:ext uri="{FF2B5EF4-FFF2-40B4-BE49-F238E27FC236}">
                <a16:creationId xmlns:a16="http://schemas.microsoft.com/office/drawing/2014/main" id="{80C42013-3E65-8BF9-09E9-3CE200ECFD9A}"/>
              </a:ext>
            </a:extLst>
          </p:cNvPr>
          <p:cNvSpPr/>
          <p:nvPr userDrawn="1"/>
        </p:nvSpPr>
        <p:spPr bwMode="gray">
          <a:xfrm>
            <a:off x="671998" y="873948"/>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13501982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5B191BF9-1999-2A34-A4B3-5ACE1BD3AFD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671999" cy="757864"/>
          </a:xfrm>
          <a:prstGeom prst="rect">
            <a:avLst/>
          </a:prstGeom>
          <a:solidFill>
            <a:schemeClr val="bg1"/>
          </a:solidFill>
        </p:spPr>
      </p:pic>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1" y="1197720"/>
            <a:ext cx="5119201" cy="334231"/>
          </a:xfrm>
          <a:solidFill>
            <a:srgbClr val="009639"/>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1531951"/>
            <a:ext cx="5119202" cy="4461343"/>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rgbClr val="005A70"/>
                </a:solidFill>
              </a:defRPr>
            </a:lvl1pPr>
            <a:lvl2pPr marL="671983">
              <a:buClr>
                <a:schemeClr val="tx1"/>
              </a:buClr>
              <a:defRPr sz="2133" b="0">
                <a:solidFill>
                  <a:srgbClr val="005A70"/>
                </a:solidFill>
              </a:defRPr>
            </a:lvl2pPr>
            <a:lvl3pPr indent="0">
              <a:buNone/>
              <a:defRPr>
                <a:solidFill>
                  <a:srgbClr val="005A70"/>
                </a:solidFill>
              </a:defRPr>
            </a:lvl3pPr>
            <a:lvl4pPr marL="911977" indent="-239994">
              <a:buClr>
                <a:schemeClr val="tx1"/>
              </a:buClr>
              <a:buFont typeface="Arial" pitchFamily="34" charset="0"/>
              <a:buChar char="•"/>
              <a:defRPr sz="1867">
                <a:solidFill>
                  <a:srgbClr val="005A70"/>
                </a:solidFill>
              </a:defRPr>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400799" y="1196236"/>
            <a:ext cx="5224208" cy="335715"/>
          </a:xfrm>
          <a:solidFill>
            <a:schemeClr val="accent6"/>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400799" y="1531951"/>
            <a:ext cx="5224207" cy="4461345"/>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accent6">
                    <a:lumMod val="75000"/>
                  </a:schemeClr>
                </a:solidFill>
              </a:defRPr>
            </a:lvl1pPr>
            <a:lvl2pPr marL="671983">
              <a:buClr>
                <a:schemeClr val="tx1"/>
              </a:buClr>
              <a:defRPr sz="2133" b="0">
                <a:solidFill>
                  <a:schemeClr val="accent6">
                    <a:lumMod val="75000"/>
                  </a:schemeClr>
                </a:solidFill>
              </a:defRPr>
            </a:lvl2pPr>
            <a:lvl3pPr indent="0">
              <a:buNone/>
              <a:defRPr>
                <a:solidFill>
                  <a:schemeClr val="accent6">
                    <a:lumMod val="75000"/>
                  </a:schemeClr>
                </a:solidFill>
              </a:defRPr>
            </a:lvl3pPr>
            <a:lvl4pPr marL="911977" indent="-239994">
              <a:buClr>
                <a:schemeClr val="tx1"/>
              </a:buClr>
              <a:buFont typeface="Arial" pitchFamily="34" charset="0"/>
              <a:buChar char="•"/>
              <a:defRPr sz="1867">
                <a:solidFill>
                  <a:schemeClr val="accent6">
                    <a:lumMod val="75000"/>
                  </a:schemeClr>
                </a:solidFill>
              </a:defRPr>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4" name="Rectangle 3">
            <a:extLst>
              <a:ext uri="{FF2B5EF4-FFF2-40B4-BE49-F238E27FC236}">
                <a16:creationId xmlns:a16="http://schemas.microsoft.com/office/drawing/2014/main" id="{7C21E8B0-A41A-BD54-4DA4-010A91310CF3}"/>
              </a:ext>
            </a:extLst>
          </p:cNvPr>
          <p:cNvSpPr/>
          <p:nvPr userDrawn="1"/>
        </p:nvSpPr>
        <p:spPr bwMode="gray">
          <a:xfrm>
            <a:off x="655699" y="938143"/>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3447180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et contenu">
    <p:bg>
      <p:bgPr>
        <a:solidFill>
          <a:schemeClr val="bg1"/>
        </a:solidFill>
        <a:effectLst/>
      </p:bgPr>
    </p:bg>
    <p:spTree>
      <p:nvGrpSpPr>
        <p:cNvPr id="1" name=""/>
        <p:cNvGrpSpPr/>
        <p:nvPr/>
      </p:nvGrpSpPr>
      <p:grpSpPr>
        <a:xfrm>
          <a:off x="0" y="0"/>
          <a:ext cx="0" cy="0"/>
          <a:chOff x="0" y="0"/>
          <a:chExt cx="0" cy="0"/>
        </a:xfrm>
      </p:grpSpPr>
      <p:pic>
        <p:nvPicPr>
          <p:cNvPr id="14" name="Image 13" descr="Une image contenant objets métalliques, matériel&#10;&#10;Description générée automatiquement">
            <a:extLst>
              <a:ext uri="{FF2B5EF4-FFF2-40B4-BE49-F238E27FC236}">
                <a16:creationId xmlns:a16="http://schemas.microsoft.com/office/drawing/2014/main" id="{F5560190-9D5D-D9CA-B85A-AA88E078B9FE}"/>
              </a:ext>
            </a:extLst>
          </p:cNvPr>
          <p:cNvPicPr>
            <a:picLocks noChangeAspect="1"/>
          </p:cNvPicPr>
          <p:nvPr userDrawn="1"/>
        </p:nvPicPr>
        <p:blipFill>
          <a:blip r:embed="rId2">
            <a:duotone>
              <a:schemeClr val="accent1">
                <a:shade val="45000"/>
                <a:satMod val="135000"/>
              </a:schemeClr>
              <a:prstClr val="white"/>
            </a:duotone>
            <a:alphaModFix amt="8000"/>
            <a:extLst>
              <a:ext uri="{BEBA8EAE-BF5A-486C-A8C5-ECC9F3942E4B}">
                <a14:imgProps xmlns:a14="http://schemas.microsoft.com/office/drawing/2010/main">
                  <a14:imgLayer r:embed="rId3">
                    <a14:imgEffect>
                      <a14:backgroundRemoval t="10000" b="90000" l="10000" r="90000"/>
                    </a14:imgEffect>
                    <a14:imgEffect>
                      <a14:sharpenSoften amount="50000"/>
                    </a14:imgEffect>
                    <a14:imgEffect>
                      <a14:brightnessContrast bright="40000"/>
                    </a14:imgEffect>
                  </a14:imgLayer>
                </a14:imgProps>
              </a:ext>
            </a:extLst>
          </a:blip>
          <a:stretch>
            <a:fillRect/>
          </a:stretch>
        </p:blipFill>
        <p:spPr>
          <a:xfrm>
            <a:off x="5641674" y="-155853"/>
            <a:ext cx="6396267" cy="6696706"/>
          </a:xfrm>
          <a:prstGeom prst="rect">
            <a:avLst/>
          </a:prstGeom>
        </p:spPr>
      </p:pic>
      <p:sp>
        <p:nvSpPr>
          <p:cNvPr id="2" name="Titre 1">
            <a:extLst>
              <a:ext uri="{FF2B5EF4-FFF2-40B4-BE49-F238E27FC236}">
                <a16:creationId xmlns:a16="http://schemas.microsoft.com/office/drawing/2014/main" id="{E939C525-E43E-56EC-E2BF-45A490E7AD24}"/>
              </a:ext>
            </a:extLst>
          </p:cNvPr>
          <p:cNvSpPr>
            <a:spLocks noGrp="1"/>
          </p:cNvSpPr>
          <p:nvPr>
            <p:ph type="title"/>
          </p:nvPr>
        </p:nvSpPr>
        <p:spPr>
          <a:xfrm>
            <a:off x="214686" y="155853"/>
            <a:ext cx="11680466" cy="599521"/>
          </a:xfrm>
        </p:spPr>
        <p:txBody>
          <a:bodyPr/>
          <a:lstStyle>
            <a:lvl1pPr>
              <a:defRPr b="1">
                <a:solidFill>
                  <a:srgbClr val="002060"/>
                </a:solidFill>
                <a:latin typeface="+mn-lt"/>
              </a:defRPr>
            </a:lvl1pPr>
          </a:lstStyle>
          <a:p>
            <a:r>
              <a:rPr lang="fr-FR"/>
              <a:t>Modifiez le style du titre</a:t>
            </a:r>
          </a:p>
        </p:txBody>
      </p:sp>
      <p:sp>
        <p:nvSpPr>
          <p:cNvPr id="3" name="Espace réservé du contenu 2">
            <a:extLst>
              <a:ext uri="{FF2B5EF4-FFF2-40B4-BE49-F238E27FC236}">
                <a16:creationId xmlns:a16="http://schemas.microsoft.com/office/drawing/2014/main" id="{57AFCD31-1EB2-1201-9A47-96CBB88365D8}"/>
              </a:ext>
            </a:extLst>
          </p:cNvPr>
          <p:cNvSpPr>
            <a:spLocks noGrp="1"/>
          </p:cNvSpPr>
          <p:nvPr>
            <p:ph idx="1"/>
          </p:nvPr>
        </p:nvSpPr>
        <p:spPr>
          <a:xfrm>
            <a:off x="214685" y="928314"/>
            <a:ext cx="11680465" cy="5130579"/>
          </a:xfrm>
        </p:spPr>
        <p:txBody>
          <a:bodyPr/>
          <a:lstStyle>
            <a:lvl1pPr>
              <a:defRPr>
                <a:solidFill>
                  <a:schemeClr val="accent1">
                    <a:lumMod val="75000"/>
                  </a:schemeClr>
                </a:solidFill>
                <a:latin typeface="+mn-lt"/>
              </a:defRPr>
            </a:lvl1pPr>
            <a:lvl2pPr>
              <a:defRPr>
                <a:solidFill>
                  <a:schemeClr val="accent1">
                    <a:lumMod val="75000"/>
                  </a:schemeClr>
                </a:solidFill>
                <a:latin typeface="+mn-lt"/>
              </a:defRPr>
            </a:lvl2pPr>
            <a:lvl3pPr>
              <a:defRPr>
                <a:solidFill>
                  <a:schemeClr val="accent1">
                    <a:lumMod val="75000"/>
                  </a:schemeClr>
                </a:solidFill>
                <a:latin typeface="+mn-lt"/>
              </a:defRPr>
            </a:lvl3pPr>
            <a:lvl4pPr>
              <a:defRPr>
                <a:solidFill>
                  <a:schemeClr val="accent1">
                    <a:lumMod val="75000"/>
                  </a:schemeClr>
                </a:solidFill>
                <a:latin typeface="+mn-lt"/>
              </a:defRPr>
            </a:lvl4pPr>
            <a:lvl5pPr>
              <a:defRPr>
                <a:solidFill>
                  <a:schemeClr val="accent1">
                    <a:lumMod val="75000"/>
                  </a:schemeClr>
                </a:solidFill>
                <a:latin typeface="+mn-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numéro de diapositive 5">
            <a:extLst>
              <a:ext uri="{FF2B5EF4-FFF2-40B4-BE49-F238E27FC236}">
                <a16:creationId xmlns:a16="http://schemas.microsoft.com/office/drawing/2014/main" id="{CE868AFA-9511-8AB6-F5B6-E855643866B2}"/>
              </a:ext>
            </a:extLst>
          </p:cNvPr>
          <p:cNvSpPr>
            <a:spLocks noGrp="1"/>
          </p:cNvSpPr>
          <p:nvPr>
            <p:ph type="sldNum" sz="quarter" idx="12"/>
          </p:nvPr>
        </p:nvSpPr>
        <p:spPr/>
        <p:txBody>
          <a:bodyPr/>
          <a:lstStyle>
            <a:lvl1pPr>
              <a:defRPr sz="1050" b="1">
                <a:solidFill>
                  <a:srgbClr val="FFC000"/>
                </a:solidFill>
              </a:defRPr>
            </a:lvl1pPr>
          </a:lstStyle>
          <a:p>
            <a:fld id="{31926C06-7B81-A449-8A9E-FA2C54DC00E5}" type="slidenum">
              <a:rPr lang="fr-FR" smtClean="0"/>
              <a:pPr/>
              <a:t>‹#›</a:t>
            </a:fld>
            <a:endParaRPr lang="fr-FR"/>
          </a:p>
        </p:txBody>
      </p:sp>
      <p:sp>
        <p:nvSpPr>
          <p:cNvPr id="4" name="Rectangle 3">
            <a:extLst>
              <a:ext uri="{FF2B5EF4-FFF2-40B4-BE49-F238E27FC236}">
                <a16:creationId xmlns:a16="http://schemas.microsoft.com/office/drawing/2014/main" id="{F21C6DBF-66A9-4E1A-7679-9533FE4D1B11}"/>
              </a:ext>
            </a:extLst>
          </p:cNvPr>
          <p:cNvSpPr/>
          <p:nvPr userDrawn="1"/>
        </p:nvSpPr>
        <p:spPr bwMode="gray">
          <a:xfrm>
            <a:off x="214685" y="818984"/>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36038828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apositive de titre">
    <p:bg>
      <p:bgPr>
        <a:solidFill>
          <a:schemeClr val="accent1"/>
        </a:solidFill>
        <a:effectLst/>
      </p:bgPr>
    </p:bg>
    <p:spTree>
      <p:nvGrpSpPr>
        <p:cNvPr id="1" name=""/>
        <p:cNvGrpSpPr/>
        <p:nvPr/>
      </p:nvGrpSpPr>
      <p:grpSpPr>
        <a:xfrm>
          <a:off x="0" y="0"/>
          <a:ext cx="0" cy="0"/>
          <a:chOff x="0" y="0"/>
          <a:chExt cx="0" cy="0"/>
        </a:xfrm>
      </p:grpSpPr>
      <p:pic>
        <p:nvPicPr>
          <p:cNvPr id="9" name="Object 1">
            <a:extLst>
              <a:ext uri="{FF2B5EF4-FFF2-40B4-BE49-F238E27FC236}">
                <a16:creationId xmlns:a16="http://schemas.microsoft.com/office/drawing/2014/main" id="{D493AEBB-EEAD-DF85-6880-EA5E77A12540}"/>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983" b="99957" l="637" r="98553">
                        <a14:foregroundMark x1="231" y1="91406" x2="7030" y2="91488"/>
                        <a14:foregroundMark x1="43798" y1="82641" x2="75579" y2="72917"/>
                        <a14:foregroundMark x1="75579" y1="72917" x2="84375" y2="74826"/>
                        <a14:foregroundMark x1="84375" y1="74826" x2="92361" y2="81641"/>
                        <a14:foregroundMark x1="92361" y1="81641" x2="96644" y2="94748"/>
                        <a14:foregroundMark x1="96644" y1="94748" x2="97049" y2="99957"/>
                        <a14:foregroundMark x1="64873" y1="72049" x2="86053" y2="71267"/>
                        <a14:foregroundMark x1="86053" y1="71267" x2="94676" y2="73611"/>
                        <a14:foregroundMark x1="94676" y1="73611" x2="98611" y2="80165"/>
                        <a14:foregroundMark x1="3299" y1="97222" x2="637" y2="92578"/>
                        <a14:foregroundMark x1="42998" y1="83290" x2="40799" y2="84852"/>
                        <a14:foregroundMark x1="7523" y1="92969" x2="15914" y2="93359"/>
                        <a14:foregroundMark x1="15914" y1="93359" x2="21817" y2="92188"/>
                        <a14:foregroundMark x1="7292" y1="91797" x2="13252" y2="92578"/>
                        <a14:backgroundMark x1="40270" y1="84530" x2="11384" y2="91658"/>
                        <a14:backgroundMark x1="40698" y1="83916" x2="39294" y2="84071"/>
                        <a14:backgroundMark x1="43461" y1="81337" x2="40567" y2="83681"/>
                        <a14:backgroundMark x1="43229" y1="80946" x2="42679" y2="83095"/>
                      </a14:backgroundRemoval>
                    </a14:imgEffect>
                  </a14:imgLayer>
                </a14:imgProps>
              </a:ext>
            </a:extLst>
          </a:blip>
          <a:stretch>
            <a:fillRect/>
          </a:stretch>
        </p:blipFill>
        <p:spPr>
          <a:xfrm>
            <a:off x="0" y="-42614"/>
            <a:ext cx="12192000" cy="6943227"/>
          </a:xfrm>
          <a:prstGeom prst="rect">
            <a:avLst/>
          </a:prstGeom>
          <a:gradFill>
            <a:gsLst>
              <a:gs pos="2000">
                <a:srgbClr val="00B0F0"/>
              </a:gs>
              <a:gs pos="58000">
                <a:srgbClr val="0070C0"/>
              </a:gs>
            </a:gsLst>
            <a:lin ang="16200000" scaled="1"/>
          </a:gradFill>
        </p:spPr>
      </p:pic>
      <p:pic>
        <p:nvPicPr>
          <p:cNvPr id="21" name="Image 20" descr="Une image contenant objets métalliques, matériel&#10;&#10;Description générée automatiquement">
            <a:extLst>
              <a:ext uri="{FF2B5EF4-FFF2-40B4-BE49-F238E27FC236}">
                <a16:creationId xmlns:a16="http://schemas.microsoft.com/office/drawing/2014/main" id="{F5560190-9D5D-D9CA-B85A-AA88E078B9FE}"/>
              </a:ext>
            </a:extLst>
          </p:cNvPr>
          <p:cNvPicPr>
            <a:picLocks noChangeAspect="1"/>
          </p:cNvPicPr>
          <p:nvPr userDrawn="1"/>
        </p:nvPicPr>
        <p:blipFill>
          <a:blip r:embed="rId4">
            <a:alphaModFix amt="20000"/>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449019" y="-42614"/>
            <a:ext cx="5417160" cy="6517042"/>
          </a:xfrm>
          <a:prstGeom prst="rect">
            <a:avLst/>
          </a:prstGeom>
        </p:spPr>
      </p:pic>
      <p:pic>
        <p:nvPicPr>
          <p:cNvPr id="11" name="Image 10" descr="Une image contenant texte&#10;&#10;Description générée automatiquement">
            <a:extLst>
              <a:ext uri="{FF2B5EF4-FFF2-40B4-BE49-F238E27FC236}">
                <a16:creationId xmlns:a16="http://schemas.microsoft.com/office/drawing/2014/main" id="{B173E603-92B5-F5F9-0242-1CCA1573E3BD}"/>
              </a:ext>
            </a:extLst>
          </p:cNvPr>
          <p:cNvPicPr>
            <a:picLocks noChangeAspect="1"/>
          </p:cNvPicPr>
          <p:nvPr userDrawn="1"/>
        </p:nvPicPr>
        <p:blipFill>
          <a:blip r:embed="rId6">
            <a:alphaModFix amt="85000"/>
          </a:blip>
          <a:stretch>
            <a:fillRect/>
          </a:stretch>
        </p:blipFill>
        <p:spPr>
          <a:xfrm>
            <a:off x="10092446" y="6008376"/>
            <a:ext cx="1537835" cy="679145"/>
          </a:xfrm>
          <a:prstGeom prst="rect">
            <a:avLst/>
          </a:prstGeom>
        </p:spPr>
      </p:pic>
      <p:sp>
        <p:nvSpPr>
          <p:cNvPr id="4" name="Espace réservé pour une image  5">
            <a:extLst>
              <a:ext uri="{FF2B5EF4-FFF2-40B4-BE49-F238E27FC236}">
                <a16:creationId xmlns:a16="http://schemas.microsoft.com/office/drawing/2014/main" id="{74FB866C-0B89-6789-8D25-CD3B0A46747F}"/>
              </a:ext>
            </a:extLst>
          </p:cNvPr>
          <p:cNvSpPr>
            <a:spLocks noGrp="1"/>
          </p:cNvSpPr>
          <p:nvPr>
            <p:ph type="pic" sz="quarter" idx="17"/>
          </p:nvPr>
        </p:nvSpPr>
        <p:spPr bwMode="gray">
          <a:xfrm rot="456935" flipH="1">
            <a:off x="1146685" y="1120898"/>
            <a:ext cx="4539930" cy="4935521"/>
          </a:xfrm>
          <a:prstGeom prst="teardrop">
            <a:avLst>
              <a:gd name="adj" fmla="val 126862"/>
            </a:avLst>
          </a:prstGeom>
          <a:solidFill>
            <a:srgbClr val="A7A7A7"/>
          </a:solidFill>
        </p:spPr>
        <p:txBody>
          <a:bodyPr/>
          <a:lstStyle/>
          <a:p>
            <a:endParaRPr lang="fr-FR"/>
          </a:p>
        </p:txBody>
      </p:sp>
    </p:spTree>
    <p:extLst>
      <p:ext uri="{BB962C8B-B14F-4D97-AF65-F5344CB8AC3E}">
        <p14:creationId xmlns:p14="http://schemas.microsoft.com/office/powerpoint/2010/main" val="27009205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17" Type="http://schemas.openxmlformats.org/officeDocument/2006/relationships/hyperlink" Target="http://www.pevcameroon.cm/" TargetMode="Externa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Object 1">
            <a:extLst>
              <a:ext uri="{FF2B5EF4-FFF2-40B4-BE49-F238E27FC236}">
                <a16:creationId xmlns:a16="http://schemas.microsoft.com/office/drawing/2014/main" id="{87C2546B-1701-EC0E-AAE5-6B0ED6D831EE}"/>
              </a:ext>
            </a:extLst>
          </p:cNvPr>
          <p:cNvPicPr>
            <a:picLocks noChangeAspect="1"/>
          </p:cNvPicPr>
          <p:nvPr userDrawn="1"/>
        </p:nvPicPr>
        <p:blipFill>
          <a:blip r:embed="rId12">
            <a:extLst>
              <a:ext uri="{BEBA8EAE-BF5A-486C-A8C5-ECC9F3942E4B}">
                <a14:imgProps xmlns:a14="http://schemas.microsoft.com/office/drawing/2010/main">
                  <a14:imgLayer r:embed="rId13">
                    <a14:imgEffect>
                      <a14:backgroundRemoval t="9983" b="99957" l="637" r="98553">
                        <a14:foregroundMark x1="231" y1="91406" x2="7030" y2="91488"/>
                        <a14:foregroundMark x1="43798" y1="82641" x2="75579" y2="72917"/>
                        <a14:foregroundMark x1="75579" y1="72917" x2="84375" y2="74826"/>
                        <a14:foregroundMark x1="84375" y1="74826" x2="92361" y2="81641"/>
                        <a14:foregroundMark x1="92361" y1="81641" x2="96644" y2="94748"/>
                        <a14:foregroundMark x1="96644" y1="94748" x2="97049" y2="99957"/>
                        <a14:foregroundMark x1="64873" y1="72049" x2="86053" y2="71267"/>
                        <a14:foregroundMark x1="86053" y1="71267" x2="94676" y2="73611"/>
                        <a14:foregroundMark x1="94676" y1="73611" x2="98611" y2="80165"/>
                        <a14:foregroundMark x1="3299" y1="97222" x2="637" y2="92578"/>
                        <a14:foregroundMark x1="42998" y1="83290" x2="40799" y2="84852"/>
                        <a14:foregroundMark x1="7523" y1="92969" x2="15914" y2="93359"/>
                        <a14:foregroundMark x1="15914" y1="93359" x2="21817" y2="92188"/>
                        <a14:foregroundMark x1="7292" y1="91797" x2="13252" y2="92578"/>
                        <a14:backgroundMark x1="40270" y1="84530" x2="11384" y2="91658"/>
                        <a14:backgroundMark x1="40698" y1="83916" x2="39294" y2="84071"/>
                        <a14:backgroundMark x1="43461" y1="81337" x2="40567" y2="83681"/>
                        <a14:backgroundMark x1="43229" y1="80946" x2="42679" y2="83095"/>
                      </a14:backgroundRemoval>
                    </a14:imgEffect>
                  </a14:imgLayer>
                </a14:imgProps>
              </a:ext>
            </a:extLst>
          </a:blip>
          <a:stretch>
            <a:fillRect/>
          </a:stretch>
        </p:blipFill>
        <p:spPr>
          <a:xfrm>
            <a:off x="0" y="5222449"/>
            <a:ext cx="12192000" cy="1635551"/>
          </a:xfrm>
          <a:prstGeom prst="rect">
            <a:avLst/>
          </a:prstGeom>
        </p:spPr>
      </p:pic>
      <p:graphicFrame>
        <p:nvGraphicFramePr>
          <p:cNvPr id="4" name="Object 3" hidden="1">
            <a:extLst>
              <a:ext uri="{FF2B5EF4-FFF2-40B4-BE49-F238E27FC236}">
                <a16:creationId xmlns:a16="http://schemas.microsoft.com/office/drawing/2014/main" id="{35F9C494-29C1-4DCF-9A1B-675262B343F0}"/>
              </a:ext>
            </a:extLst>
          </p:cNvPr>
          <p:cNvGraphicFramePr>
            <a:graphicFrameLocks noChangeAspect="1"/>
          </p:cNvGraphicFramePr>
          <p:nvPr userDrawn="1">
            <p:custDataLst>
              <p:tags r:id="rId11"/>
            </p:custDataLst>
            <p:extLst>
              <p:ext uri="{D42A27DB-BD31-4B8C-83A1-F6EECF244321}">
                <p14:modId xmlns:p14="http://schemas.microsoft.com/office/powerpoint/2010/main" val="187400645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4" imgW="415" imgH="416" progId="TCLayout.ActiveDocument.1">
                  <p:embed/>
                </p:oleObj>
              </mc:Choice>
              <mc:Fallback>
                <p:oleObj name="think-cell Slide" r:id="rId14" imgW="415" imgH="416" progId="TCLayout.ActiveDocument.1">
                  <p:embed/>
                  <p:pic>
                    <p:nvPicPr>
                      <p:cNvPr id="4" name="Object 3" hidden="1">
                        <a:extLst>
                          <a:ext uri="{FF2B5EF4-FFF2-40B4-BE49-F238E27FC236}">
                            <a16:creationId xmlns:a16="http://schemas.microsoft.com/office/drawing/2014/main" id="{35F9C494-29C1-4DCF-9A1B-675262B343F0}"/>
                          </a:ext>
                        </a:extLst>
                      </p:cNvPr>
                      <p:cNvPicPr/>
                      <p:nvPr/>
                    </p:nvPicPr>
                    <p:blipFill>
                      <a:blip r:embed="rId15"/>
                      <a:stretch>
                        <a:fillRect/>
                      </a:stretch>
                    </p:blipFill>
                    <p:spPr>
                      <a:xfrm>
                        <a:off x="2118" y="2118"/>
                        <a:ext cx="2117" cy="2117"/>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655699" y="161921"/>
            <a:ext cx="11234991" cy="609569"/>
          </a:xfrm>
          <a:prstGeom prst="rect">
            <a:avLst/>
          </a:prstGeom>
        </p:spPr>
        <p:txBody>
          <a:bodyPr vert="horz" lIns="0" tIns="0" rIns="0" bIns="0" rtlCol="0" anchor="ctr" anchorCtr="0">
            <a:noAutofit/>
          </a:bodyPr>
          <a:lstStyle/>
          <a:p>
            <a:r>
              <a:rPr lang="en-GB" noProof="0"/>
              <a:t>Title</a:t>
            </a:r>
          </a:p>
        </p:txBody>
      </p:sp>
      <p:sp>
        <p:nvSpPr>
          <p:cNvPr id="3" name="Espace réservé du texte 2"/>
          <p:cNvSpPr>
            <a:spLocks noGrp="1"/>
          </p:cNvSpPr>
          <p:nvPr>
            <p:ph type="body" idx="1"/>
          </p:nvPr>
        </p:nvSpPr>
        <p:spPr bwMode="gray">
          <a:xfrm>
            <a:off x="672000" y="994755"/>
            <a:ext cx="11234992" cy="5010603"/>
          </a:xfrm>
          <a:prstGeom prst="rect">
            <a:avLst/>
          </a:prstGeom>
        </p:spPr>
        <p:txBody>
          <a:bodyPr vert="horz" lIns="0" tIns="0" rIns="0" bIns="0" rtlCol="0" anchor="t" anchorCtr="0">
            <a:noAutofit/>
          </a:bodyPr>
          <a:lstStyle/>
          <a:p>
            <a:pPr lvl="0"/>
            <a:r>
              <a:rPr lang="en-GB" noProof="0"/>
              <a:t>Text level 1</a:t>
            </a:r>
          </a:p>
          <a:p>
            <a:pPr lvl="1"/>
            <a:endParaRPr lang="en-GB" noProof="0"/>
          </a:p>
        </p:txBody>
      </p:sp>
      <p:sp>
        <p:nvSpPr>
          <p:cNvPr id="6" name="Espace réservé du numéro de diapositive 5"/>
          <p:cNvSpPr>
            <a:spLocks noGrp="1"/>
          </p:cNvSpPr>
          <p:nvPr>
            <p:ph type="sldNum" sz="quarter" idx="4"/>
          </p:nvPr>
        </p:nvSpPr>
        <p:spPr bwMode="gray">
          <a:xfrm>
            <a:off x="11625007" y="6526388"/>
            <a:ext cx="531367" cy="206189"/>
          </a:xfrm>
          <a:prstGeom prst="rect">
            <a:avLst/>
          </a:prstGeom>
        </p:spPr>
        <p:txBody>
          <a:bodyPr vert="horz" lIns="0" tIns="21600" rIns="0" bIns="0" rtlCol="0" anchor="t" anchorCtr="0">
            <a:noAutofit/>
          </a:bodyPr>
          <a:lstStyle>
            <a:lvl1pPr algn="ctr">
              <a:defRPr sz="1200" b="1">
                <a:solidFill>
                  <a:srgbClr val="FFC000"/>
                </a:solidFill>
              </a:defRPr>
            </a:lvl1pPr>
          </a:lstStyle>
          <a:p>
            <a:fld id="{733122C9-A0B9-462F-8757-0847AD287B63}" type="slidenum">
              <a:rPr lang="en-GB" smtClean="0"/>
              <a:pPr/>
              <a:t>‹#›</a:t>
            </a:fld>
            <a:endParaRPr lang="en-GB"/>
          </a:p>
        </p:txBody>
      </p:sp>
      <p:pic>
        <p:nvPicPr>
          <p:cNvPr id="7" name="Image 6">
            <a:extLst>
              <a:ext uri="{FF2B5EF4-FFF2-40B4-BE49-F238E27FC236}">
                <a16:creationId xmlns:a16="http://schemas.microsoft.com/office/drawing/2014/main" id="{C3EEE77B-4FB9-9049-0346-8CED6FA1F152}"/>
              </a:ext>
            </a:extLst>
          </p:cNvPr>
          <p:cNvPicPr>
            <a:picLocks noChangeAspect="1"/>
          </p:cNvPicPr>
          <p:nvPr userDrawn="1"/>
        </p:nvPicPr>
        <p:blipFill>
          <a:blip r:embed="rId16">
            <a:alphaModFix amt="50000"/>
          </a:blip>
          <a:stretch>
            <a:fillRect/>
          </a:stretch>
        </p:blipFill>
        <p:spPr>
          <a:xfrm>
            <a:off x="10767096" y="6428510"/>
            <a:ext cx="752904" cy="415783"/>
          </a:xfrm>
          <a:prstGeom prst="rect">
            <a:avLst/>
          </a:prstGeom>
        </p:spPr>
      </p:pic>
      <p:sp>
        <p:nvSpPr>
          <p:cNvPr id="9" name="ZoneTexte 8">
            <a:extLst>
              <a:ext uri="{FF2B5EF4-FFF2-40B4-BE49-F238E27FC236}">
                <a16:creationId xmlns:a16="http://schemas.microsoft.com/office/drawing/2014/main" id="{41319EAD-72E2-1793-E235-B70B07F25B4F}"/>
              </a:ext>
            </a:extLst>
          </p:cNvPr>
          <p:cNvSpPr txBox="1"/>
          <p:nvPr userDrawn="1"/>
        </p:nvSpPr>
        <p:spPr>
          <a:xfrm>
            <a:off x="8637266" y="6428510"/>
            <a:ext cx="2214820" cy="297454"/>
          </a:xfrm>
          <a:prstGeom prst="rect">
            <a:avLst/>
          </a:prstGeom>
          <a:noFill/>
        </p:spPr>
        <p:txBody>
          <a:bodyPr wrap="square">
            <a:spAutoFit/>
          </a:bodyPr>
          <a:lstStyle/>
          <a:p>
            <a:r>
              <a:rPr lang="fr-FR" sz="1333">
                <a:solidFill>
                  <a:srgbClr val="FFFF00"/>
                </a:solidFill>
                <a:hlinkClick r:id="rId17">
                  <a:extLst>
                    <a:ext uri="{A12FA001-AC4F-418D-AE19-62706E023703}">
                      <ahyp:hlinkClr xmlns:ahyp="http://schemas.microsoft.com/office/drawing/2018/hyperlinkcolor" val="tx"/>
                    </a:ext>
                  </a:extLst>
                </a:hlinkClick>
              </a:rPr>
              <a:t>www.pevcameroon.cm</a:t>
            </a:r>
            <a:r>
              <a:rPr lang="fr-FR" sz="1333">
                <a:solidFill>
                  <a:srgbClr val="FFFF00"/>
                </a:solidFill>
              </a:rPr>
              <a:t>  </a:t>
            </a:r>
          </a:p>
        </p:txBody>
      </p:sp>
    </p:spTree>
    <p:extLst>
      <p:ext uri="{BB962C8B-B14F-4D97-AF65-F5344CB8AC3E}">
        <p14:creationId xmlns:p14="http://schemas.microsoft.com/office/powerpoint/2010/main" val="209724933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4" r:id="rId8"/>
    <p:sldLayoutId id="2147483696" r:id="rId9"/>
  </p:sldLayoutIdLst>
  <p:hf hdr="0" ftr="0" dt="0"/>
  <p:txStyles>
    <p:titleStyle>
      <a:lvl1pPr algn="l" defTabSz="1219170" rtl="0" eaLnBrk="1" latinLnBrk="0" hangingPunct="1">
        <a:lnSpc>
          <a:spcPct val="90000"/>
        </a:lnSpc>
        <a:spcBef>
          <a:spcPct val="0"/>
        </a:spcBef>
        <a:buNone/>
        <a:defRPr sz="2667" b="1" kern="1200" cap="none" baseline="0">
          <a:solidFill>
            <a:schemeClr val="accent1"/>
          </a:solidFill>
          <a:latin typeface="+mj-lt"/>
          <a:ea typeface="+mj-ea"/>
          <a:cs typeface="+mj-cs"/>
        </a:defRPr>
      </a:lvl1pPr>
    </p:titleStyle>
    <p:bodyStyle>
      <a:lvl1pPr marL="380990" indent="-380990" algn="l" defTabSz="1219170" rtl="0" eaLnBrk="1" latinLnBrk="0" hangingPunct="1">
        <a:lnSpc>
          <a:spcPct val="110000"/>
        </a:lnSpc>
        <a:spcBef>
          <a:spcPts val="0"/>
        </a:spcBef>
        <a:buFont typeface="Arial" panose="020B0604020202020204" pitchFamily="34" charset="0"/>
        <a:buChar char="•"/>
        <a:defRPr sz="2400" b="1" kern="1200">
          <a:solidFill>
            <a:schemeClr val="accent1"/>
          </a:solidFill>
          <a:latin typeface="+mn-lt"/>
          <a:ea typeface="+mn-ea"/>
          <a:cs typeface="+mn-cs"/>
        </a:defRPr>
      </a:lvl1pPr>
      <a:lvl2pPr marL="431989" indent="-239994" algn="l" defTabSz="1219170" rtl="0" eaLnBrk="1" latinLnBrk="0" hangingPunct="1">
        <a:lnSpc>
          <a:spcPct val="100000"/>
        </a:lnSpc>
        <a:spcBef>
          <a:spcPts val="400"/>
        </a:spcBef>
        <a:buClr>
          <a:schemeClr val="accent3"/>
        </a:buClr>
        <a:buFont typeface="Arial" pitchFamily="34" charset="0"/>
        <a:buChar char="•"/>
        <a:defRPr sz="2133" b="1" kern="1200">
          <a:solidFill>
            <a:schemeClr val="tx1"/>
          </a:solidFill>
          <a:latin typeface="+mn-lt"/>
          <a:ea typeface="+mn-ea"/>
          <a:cs typeface="+mn-cs"/>
        </a:defRPr>
      </a:lvl2pPr>
      <a:lvl3pPr marL="671983" indent="-239994" algn="l" defTabSz="1219170" rtl="0" eaLnBrk="1" latinLnBrk="0" hangingPunct="1">
        <a:lnSpc>
          <a:spcPct val="100000"/>
        </a:lnSpc>
        <a:spcBef>
          <a:spcPts val="400"/>
        </a:spcBef>
        <a:buSzPct val="100000"/>
        <a:buFont typeface="Arial" pitchFamily="34" charset="0"/>
        <a:buChar char="•"/>
        <a:defRPr sz="1867" b="0" kern="1200">
          <a:solidFill>
            <a:schemeClr val="tx1"/>
          </a:solidFill>
          <a:latin typeface="+mn-lt"/>
          <a:ea typeface="+mn-ea"/>
          <a:cs typeface="+mn-cs"/>
        </a:defRPr>
      </a:lvl3pPr>
      <a:lvl4pPr marL="1052974" indent="-380990" algn="l" defTabSz="1219170" rtl="0" eaLnBrk="1" latinLnBrk="0" hangingPunct="1">
        <a:lnSpc>
          <a:spcPct val="100000"/>
        </a:lnSpc>
        <a:spcBef>
          <a:spcPts val="400"/>
        </a:spcBef>
        <a:buSzPct val="100000"/>
        <a:buFont typeface="Arial" panose="020B0604020202020204" pitchFamily="34" charset="0"/>
        <a:buChar char="•"/>
        <a:defRPr sz="1867" kern="1200">
          <a:solidFill>
            <a:schemeClr val="tx1"/>
          </a:solidFill>
          <a:latin typeface="+mn-lt"/>
          <a:ea typeface="+mn-ea"/>
          <a:cs typeface="+mn-cs"/>
        </a:defRPr>
      </a:lvl4pPr>
      <a:lvl5pPr marL="911977" indent="-239994" algn="l" defTabSz="1219170" rtl="0" eaLnBrk="1" latinLnBrk="0" hangingPunct="1">
        <a:lnSpc>
          <a:spcPct val="100000"/>
        </a:lnSpc>
        <a:spcBef>
          <a:spcPts val="400"/>
        </a:spcBef>
        <a:buSzPct val="100000"/>
        <a:buFont typeface="Arial" pitchFamily="34" charset="0"/>
        <a:buChar char="•"/>
        <a:defRPr sz="16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963A3CAD-0CAC-272D-2746-13551D3CFBFF}"/>
              </a:ext>
            </a:extLst>
          </p:cNvPr>
          <p:cNvSpPr>
            <a:spLocks noGrp="1"/>
          </p:cNvSpPr>
          <p:nvPr>
            <p:ph type="body" sz="quarter" idx="13"/>
          </p:nvPr>
        </p:nvSpPr>
        <p:spPr>
          <a:xfrm>
            <a:off x="672000" y="974400"/>
            <a:ext cx="6384000" cy="2232000"/>
          </a:xfrm>
        </p:spPr>
        <p:txBody>
          <a:bodyPr anchor="ctr"/>
          <a:lstStyle/>
          <a:p>
            <a:r>
              <a:rPr lang="fr-FR"/>
              <a:t>Planification et enregistrement des données par session de vaccination</a:t>
            </a:r>
            <a:r>
              <a:rPr lang="fr-CM"/>
              <a:t> </a:t>
            </a:r>
            <a:endParaRPr lang="en-US"/>
          </a:p>
        </p:txBody>
      </p:sp>
      <p:sp>
        <p:nvSpPr>
          <p:cNvPr id="12" name="Espace réservé du texte 11">
            <a:extLst>
              <a:ext uri="{FF2B5EF4-FFF2-40B4-BE49-F238E27FC236}">
                <a16:creationId xmlns:a16="http://schemas.microsoft.com/office/drawing/2014/main" id="{DA072F9A-2984-6BED-B518-7B6C5A9BBEDD}"/>
              </a:ext>
            </a:extLst>
          </p:cNvPr>
          <p:cNvSpPr>
            <a:spLocks noGrp="1"/>
          </p:cNvSpPr>
          <p:nvPr>
            <p:ph type="body" sz="quarter" idx="14"/>
          </p:nvPr>
        </p:nvSpPr>
        <p:spPr>
          <a:xfrm>
            <a:off x="803565" y="3586163"/>
            <a:ext cx="5209308" cy="1479550"/>
          </a:xfrm>
        </p:spPr>
        <p:txBody>
          <a:bodyPr/>
          <a:lstStyle/>
          <a:p>
            <a:r>
              <a:rPr lang="fr-FR" sz="2000"/>
              <a:t>Réunion des Directeurs du PEV Afrique centrale</a:t>
            </a:r>
          </a:p>
          <a:p>
            <a:r>
              <a:rPr lang="fr-FR" sz="2000"/>
              <a:t>KINSHASA, 10-12 SEPTEMBRE 2024</a:t>
            </a:r>
            <a:endParaRPr lang="fr-CM" sz="2000"/>
          </a:p>
          <a:p>
            <a:endParaRPr lang="fr-FR"/>
          </a:p>
        </p:txBody>
      </p:sp>
      <p:pic>
        <p:nvPicPr>
          <p:cNvPr id="8" name="Espace réservé pour une image  7" descr="Une image contenant dessin, sapin, clipart, cercle&#10;&#10;Description générée automatiquement">
            <a:extLst>
              <a:ext uri="{FF2B5EF4-FFF2-40B4-BE49-F238E27FC236}">
                <a16:creationId xmlns:a16="http://schemas.microsoft.com/office/drawing/2014/main" id="{B34F4541-49E5-B90C-3095-BCAFFDD2344E}"/>
              </a:ext>
            </a:extLst>
          </p:cNvPr>
          <p:cNvPicPr>
            <a:picLocks noGrp="1" noChangeAspect="1"/>
          </p:cNvPicPr>
          <p:nvPr>
            <p:ph type="pic" sz="quarter" idx="17"/>
          </p:nvPr>
        </p:nvPicPr>
        <p:blipFill>
          <a:blip r:embed="rId2"/>
          <a:srcRect t="1956" b="1956"/>
          <a:stretch>
            <a:fillRect/>
          </a:stretch>
        </p:blipFill>
        <p:spPr/>
      </p:pic>
    </p:spTree>
    <p:extLst>
      <p:ext uri="{BB962C8B-B14F-4D97-AF65-F5344CB8AC3E}">
        <p14:creationId xmlns:p14="http://schemas.microsoft.com/office/powerpoint/2010/main" val="25508005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9219EC-364B-A3CD-B8BB-A715AFAE0F21}"/>
              </a:ext>
            </a:extLst>
          </p:cNvPr>
          <p:cNvSpPr>
            <a:spLocks noGrp="1"/>
          </p:cNvSpPr>
          <p:nvPr>
            <p:ph type="title"/>
          </p:nvPr>
        </p:nvSpPr>
        <p:spPr>
          <a:noFill/>
        </p:spPr>
        <p:txBody>
          <a:bodyPr vert="horz" lIns="91440" tIns="45720" rIns="91440" bIns="45720" rtlCol="0" anchor="b">
            <a:noAutofit/>
          </a:bodyPr>
          <a:lstStyle/>
          <a:p>
            <a:r>
              <a:rPr lang="en-US" sz="2800">
                <a:solidFill>
                  <a:schemeClr val="accent4"/>
                </a:solidFill>
              </a:rPr>
              <a:t>Plan</a:t>
            </a:r>
          </a:p>
        </p:txBody>
      </p:sp>
      <p:sp>
        <p:nvSpPr>
          <p:cNvPr id="4" name="Espace réservé du numéro de diapositive 3">
            <a:extLst>
              <a:ext uri="{FF2B5EF4-FFF2-40B4-BE49-F238E27FC236}">
                <a16:creationId xmlns:a16="http://schemas.microsoft.com/office/drawing/2014/main" id="{3690E4A4-9039-9E4C-D56C-6575BF07066F}"/>
              </a:ext>
            </a:extLst>
          </p:cNvPr>
          <p:cNvSpPr>
            <a:spLocks noGrp="1"/>
          </p:cNvSpPr>
          <p:nvPr>
            <p:ph type="sldNum" sz="quarter" idx="16"/>
          </p:nvPr>
        </p:nvSpPr>
        <p:spPr/>
        <p:txBody>
          <a:bodyPr vert="horz" lIns="91440" tIns="45720" rIns="91440" bIns="45720" rtlCol="0" anchor="ctr">
            <a:normAutofit fontScale="85000" lnSpcReduction="20000"/>
          </a:bodyPr>
          <a:lstStyle/>
          <a:p>
            <a:fld id="{31926C06-7B81-A449-8A9E-FA2C54DC00E5}" type="slidenum">
              <a:rPr lang="en-US"/>
              <a:pPr/>
              <a:t>2</a:t>
            </a:fld>
            <a:endParaRPr lang="en-US"/>
          </a:p>
        </p:txBody>
      </p:sp>
      <p:graphicFrame>
        <p:nvGraphicFramePr>
          <p:cNvPr id="6" name="Espace réservé du contenu 2">
            <a:extLst>
              <a:ext uri="{FF2B5EF4-FFF2-40B4-BE49-F238E27FC236}">
                <a16:creationId xmlns:a16="http://schemas.microsoft.com/office/drawing/2014/main" id="{97BC46F9-D7FE-6905-7934-AF97A6B77E33}"/>
              </a:ext>
            </a:extLst>
          </p:cNvPr>
          <p:cNvGraphicFramePr>
            <a:graphicFrameLocks/>
          </p:cNvGraphicFramePr>
          <p:nvPr>
            <p:extLst>
              <p:ext uri="{D42A27DB-BD31-4B8C-83A1-F6EECF244321}">
                <p14:modId xmlns:p14="http://schemas.microsoft.com/office/powerpoint/2010/main" val="3502019918"/>
              </p:ext>
            </p:extLst>
          </p:nvPr>
        </p:nvGraphicFramePr>
        <p:xfrm>
          <a:off x="1007882" y="1453857"/>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501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AE62D99-0C60-8BA4-2BEA-D7C534E11F8B}"/>
              </a:ext>
            </a:extLst>
          </p:cNvPr>
          <p:cNvSpPr>
            <a:spLocks noGrp="1"/>
          </p:cNvSpPr>
          <p:nvPr>
            <p:ph type="title"/>
          </p:nvPr>
        </p:nvSpPr>
        <p:spPr/>
        <p:txBody>
          <a:bodyPr/>
          <a:lstStyle/>
          <a:p>
            <a:r>
              <a:rPr lang="fr-FR"/>
              <a:t>Justificatif</a:t>
            </a:r>
          </a:p>
        </p:txBody>
      </p:sp>
      <p:sp>
        <p:nvSpPr>
          <p:cNvPr id="3" name="Espace réservé du numéro de diapositive 2">
            <a:extLst>
              <a:ext uri="{FF2B5EF4-FFF2-40B4-BE49-F238E27FC236}">
                <a16:creationId xmlns:a16="http://schemas.microsoft.com/office/drawing/2014/main" id="{85C0F70F-D293-1082-A1DB-588095CCA82B}"/>
              </a:ext>
            </a:extLst>
          </p:cNvPr>
          <p:cNvSpPr>
            <a:spLocks noGrp="1"/>
          </p:cNvSpPr>
          <p:nvPr>
            <p:ph type="sldNum" sz="quarter" idx="15"/>
          </p:nvPr>
        </p:nvSpPr>
        <p:spPr/>
        <p:txBody>
          <a:bodyPr/>
          <a:lstStyle/>
          <a:p>
            <a:pPr algn="l"/>
            <a:fld id="{733122C9-A0B9-462F-8757-0847AD287B63}" type="slidenum">
              <a:rPr lang="en-GB" noProof="0" smtClean="0"/>
              <a:pPr algn="l"/>
              <a:t>3</a:t>
            </a:fld>
            <a:endParaRPr lang="en-GB" noProof="0"/>
          </a:p>
        </p:txBody>
      </p:sp>
      <p:sp>
        <p:nvSpPr>
          <p:cNvPr id="4" name="Espace réservé du texte 3">
            <a:extLst>
              <a:ext uri="{FF2B5EF4-FFF2-40B4-BE49-F238E27FC236}">
                <a16:creationId xmlns:a16="http://schemas.microsoft.com/office/drawing/2014/main" id="{8D6C9D15-DB9F-2162-6CB3-48E35FB52690}"/>
              </a:ext>
            </a:extLst>
          </p:cNvPr>
          <p:cNvSpPr>
            <a:spLocks noGrp="1"/>
          </p:cNvSpPr>
          <p:nvPr>
            <p:ph type="body" sz="quarter" idx="19"/>
          </p:nvPr>
        </p:nvSpPr>
        <p:spPr/>
        <p:txBody>
          <a:bodyPr/>
          <a:lstStyle/>
          <a:p>
            <a:pPr marL="0" indent="0">
              <a:buNone/>
            </a:pPr>
            <a:r>
              <a:rPr lang="fr-FR"/>
              <a:t>Introduction d’un nouveau vaccin</a:t>
            </a:r>
          </a:p>
        </p:txBody>
      </p:sp>
      <p:sp>
        <p:nvSpPr>
          <p:cNvPr id="5" name="Espace réservé du texte 4">
            <a:extLst>
              <a:ext uri="{FF2B5EF4-FFF2-40B4-BE49-F238E27FC236}">
                <a16:creationId xmlns:a16="http://schemas.microsoft.com/office/drawing/2014/main" id="{15CB7B29-5341-AEA5-B384-AED019A4A9E0}"/>
              </a:ext>
            </a:extLst>
          </p:cNvPr>
          <p:cNvSpPr>
            <a:spLocks noGrp="1"/>
          </p:cNvSpPr>
          <p:nvPr>
            <p:ph type="body" sz="quarter" idx="20"/>
          </p:nvPr>
        </p:nvSpPr>
        <p:spPr/>
        <p:txBody>
          <a:bodyPr/>
          <a:lstStyle/>
          <a:p>
            <a:pPr marL="380365" indent="-380365"/>
            <a:r>
              <a:rPr lang="fr-FR" sz="2100"/>
              <a:t>Introduction du vaccin contre le Paludisme</a:t>
            </a:r>
          </a:p>
          <a:p>
            <a:pPr marL="380365" indent="-380365"/>
            <a:r>
              <a:rPr lang="fr-FR" sz="2100"/>
              <a:t>La situation de la vaccination met au moins un mois pour être connue</a:t>
            </a:r>
            <a:endParaRPr lang="fr-FR" sz="2100">
              <a:ea typeface="Calibri"/>
              <a:cs typeface="Calibri"/>
            </a:endParaRPr>
          </a:p>
          <a:p>
            <a:pPr marL="380365" indent="-380365"/>
            <a:r>
              <a:rPr lang="fr-FR" sz="2100"/>
              <a:t>La pression des politiques pour avoir la situation des données du VAP à temps réel</a:t>
            </a:r>
          </a:p>
          <a:p>
            <a:pPr marL="380365" indent="-380365"/>
            <a:r>
              <a:rPr lang="fr-FR" sz="2100"/>
              <a:t>Maitriser l’offre et la demande des services de vaccination</a:t>
            </a:r>
          </a:p>
          <a:p>
            <a:pPr marL="380365" indent="-380365"/>
            <a:r>
              <a:rPr lang="fr-FR" sz="2100"/>
              <a:t>Identifier rapidement les zones sous vaccinées</a:t>
            </a:r>
          </a:p>
          <a:p>
            <a:pPr marL="380365" indent="-380365"/>
            <a:r>
              <a:rPr lang="fr-FR" sz="2100"/>
              <a:t>Nécessité d’avoir l’information à temps réel</a:t>
            </a:r>
          </a:p>
          <a:p>
            <a:pPr marL="380365" indent="-380365"/>
            <a:r>
              <a:rPr lang="fr-FR" sz="2100"/>
              <a:t>Identifier les ruptures de stocks et les OMV</a:t>
            </a:r>
            <a:endParaRPr lang="fr-FR" sz="2100">
              <a:ea typeface="Calibri"/>
              <a:cs typeface="Calibri"/>
            </a:endParaRPr>
          </a:p>
        </p:txBody>
      </p:sp>
      <p:sp>
        <p:nvSpPr>
          <p:cNvPr id="6" name="Espace réservé du texte 5">
            <a:extLst>
              <a:ext uri="{FF2B5EF4-FFF2-40B4-BE49-F238E27FC236}">
                <a16:creationId xmlns:a16="http://schemas.microsoft.com/office/drawing/2014/main" id="{B04653C1-3919-8751-24DB-70887164C5E0}"/>
              </a:ext>
            </a:extLst>
          </p:cNvPr>
          <p:cNvSpPr>
            <a:spLocks noGrp="1"/>
          </p:cNvSpPr>
          <p:nvPr>
            <p:ph type="body" sz="quarter" idx="21"/>
          </p:nvPr>
        </p:nvSpPr>
        <p:spPr>
          <a:solidFill>
            <a:schemeClr val="accent6">
              <a:lumMod val="60000"/>
              <a:lumOff val="40000"/>
            </a:schemeClr>
          </a:solidFill>
        </p:spPr>
        <p:txBody>
          <a:bodyPr/>
          <a:lstStyle/>
          <a:p>
            <a:pPr marL="0" indent="0">
              <a:buNone/>
            </a:pPr>
            <a:r>
              <a:rPr lang="fr-FR"/>
              <a:t>Qualité des données</a:t>
            </a:r>
          </a:p>
        </p:txBody>
      </p:sp>
      <p:sp>
        <p:nvSpPr>
          <p:cNvPr id="7" name="Espace réservé du texte 6">
            <a:extLst>
              <a:ext uri="{FF2B5EF4-FFF2-40B4-BE49-F238E27FC236}">
                <a16:creationId xmlns:a16="http://schemas.microsoft.com/office/drawing/2014/main" id="{50740639-1A72-AC61-DD3A-E7687EF74714}"/>
              </a:ext>
            </a:extLst>
          </p:cNvPr>
          <p:cNvSpPr>
            <a:spLocks noGrp="1"/>
          </p:cNvSpPr>
          <p:nvPr>
            <p:ph type="body" sz="quarter" idx="22"/>
          </p:nvPr>
        </p:nvSpPr>
        <p:spPr/>
        <p:txBody>
          <a:bodyPr/>
          <a:lstStyle/>
          <a:p>
            <a:pPr marL="380365" indent="-380365"/>
            <a:r>
              <a:rPr lang="fr-FR" sz="2200">
                <a:solidFill>
                  <a:schemeClr val="accent4"/>
                </a:solidFill>
              </a:rPr>
              <a:t>Amélioration de la qualité des données</a:t>
            </a:r>
          </a:p>
          <a:p>
            <a:pPr marL="380365" indent="-380365"/>
            <a:r>
              <a:rPr lang="fr-FR" sz="2200">
                <a:solidFill>
                  <a:schemeClr val="accent4"/>
                </a:solidFill>
              </a:rPr>
              <a:t>La volonté de réduction du temps de synthèse des données au niveau des postes de vaccination</a:t>
            </a:r>
            <a:endParaRPr lang="fr-FR" sz="2200">
              <a:solidFill>
                <a:schemeClr val="accent4"/>
              </a:solidFill>
              <a:ea typeface="Calibri"/>
              <a:cs typeface="Calibri"/>
            </a:endParaRPr>
          </a:p>
          <a:p>
            <a:pPr marL="380365" indent="-380365"/>
            <a:r>
              <a:rPr lang="fr-FR" sz="2200">
                <a:solidFill>
                  <a:schemeClr val="accent4"/>
                </a:solidFill>
              </a:rPr>
              <a:t>Faciliter la synthèse des données mensuelles</a:t>
            </a:r>
            <a:endParaRPr lang="fr-FR" sz="2200">
              <a:solidFill>
                <a:schemeClr val="accent4"/>
              </a:solidFill>
              <a:ea typeface="Calibri"/>
              <a:cs typeface="Calibri"/>
            </a:endParaRPr>
          </a:p>
          <a:p>
            <a:pPr marL="380365" indent="-380365"/>
            <a:r>
              <a:rPr lang="fr-FR" sz="2200">
                <a:solidFill>
                  <a:schemeClr val="accent4"/>
                </a:solidFill>
              </a:rPr>
              <a:t>Mettre en œuvre les </a:t>
            </a:r>
            <a:r>
              <a:rPr lang="fr-FR" sz="2200" err="1">
                <a:solidFill>
                  <a:schemeClr val="accent4"/>
                </a:solidFill>
              </a:rPr>
              <a:t>microplans</a:t>
            </a:r>
            <a:r>
              <a:rPr lang="fr-FR" sz="2200">
                <a:solidFill>
                  <a:schemeClr val="accent4"/>
                </a:solidFill>
              </a:rPr>
              <a:t> ACD</a:t>
            </a:r>
            <a:endParaRPr lang="fr-FR" sz="2200">
              <a:solidFill>
                <a:schemeClr val="accent4"/>
              </a:solidFill>
              <a:ea typeface="Calibri"/>
              <a:cs typeface="Calibri"/>
            </a:endParaRPr>
          </a:p>
          <a:p>
            <a:pPr marL="380365" indent="-380365"/>
            <a:r>
              <a:rPr lang="fr-FR" sz="2200">
                <a:solidFill>
                  <a:schemeClr val="accent4"/>
                </a:solidFill>
              </a:rPr>
              <a:t>la vision à moyen terme de la mise en place d’un registre électronique de vaccination en passant par une étape transitoire </a:t>
            </a:r>
            <a:endParaRPr lang="fr-FR" sz="2200">
              <a:solidFill>
                <a:schemeClr val="accent4"/>
              </a:solidFill>
              <a:ea typeface="Calibri"/>
              <a:cs typeface="Calibri"/>
            </a:endParaRPr>
          </a:p>
        </p:txBody>
      </p:sp>
    </p:spTree>
    <p:extLst>
      <p:ext uri="{BB962C8B-B14F-4D97-AF65-F5344CB8AC3E}">
        <p14:creationId xmlns:p14="http://schemas.microsoft.com/office/powerpoint/2010/main" val="37699916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8F1A5AE8-7A40-C22A-78B0-AE1E9D9E8F49}"/>
              </a:ext>
            </a:extLst>
          </p:cNvPr>
          <p:cNvSpPr>
            <a:spLocks noGrp="1"/>
          </p:cNvSpPr>
          <p:nvPr>
            <p:ph idx="1"/>
          </p:nvPr>
        </p:nvSpPr>
        <p:spPr/>
        <p:txBody>
          <a:bodyPr/>
          <a:lstStyle/>
          <a:p>
            <a:pPr marL="0" indent="0">
              <a:buNone/>
            </a:pPr>
            <a:r>
              <a:rPr lang="fr-FR">
                <a:ea typeface="Calibri"/>
                <a:cs typeface="Calibri"/>
              </a:rPr>
              <a:t>Au niveau central</a:t>
            </a:r>
          </a:p>
          <a:p>
            <a:pPr marL="431364" lvl="1" indent="-380365"/>
            <a:r>
              <a:rPr lang="fr-FR" b="0">
                <a:ea typeface="Calibri"/>
                <a:cs typeface="Calibri"/>
              </a:rPr>
              <a:t>Configuration du système</a:t>
            </a:r>
          </a:p>
          <a:p>
            <a:pPr marL="431364" lvl="1" indent="-380365"/>
            <a:r>
              <a:rPr lang="fr-FR" b="0">
                <a:ea typeface="Calibri"/>
                <a:cs typeface="Calibri"/>
              </a:rPr>
              <a:t>Elaboration des modules de formations</a:t>
            </a:r>
          </a:p>
          <a:p>
            <a:pPr marL="431364" lvl="1" indent="-380365"/>
            <a:r>
              <a:rPr lang="fr-FR" b="0">
                <a:ea typeface="Calibri"/>
                <a:cs typeface="Calibri"/>
              </a:rPr>
              <a:t>Configuration des formulaires</a:t>
            </a:r>
          </a:p>
          <a:p>
            <a:pPr marL="431364" lvl="1" indent="-380365"/>
            <a:r>
              <a:rPr lang="fr-FR" b="0">
                <a:ea typeface="Calibri"/>
                <a:cs typeface="Calibri"/>
              </a:rPr>
              <a:t>Préparation des Dashboard</a:t>
            </a:r>
          </a:p>
          <a:p>
            <a:pPr marL="0" indent="0">
              <a:buNone/>
            </a:pPr>
            <a:endParaRPr lang="fr-FR">
              <a:ea typeface="Calibri"/>
              <a:cs typeface="Calibri"/>
            </a:endParaRPr>
          </a:p>
          <a:p>
            <a:pPr marL="380365" indent="-380365"/>
            <a:endParaRPr lang="fr-FR">
              <a:ea typeface="Calibri"/>
              <a:cs typeface="Calibri"/>
            </a:endParaRPr>
          </a:p>
        </p:txBody>
      </p:sp>
      <p:sp>
        <p:nvSpPr>
          <p:cNvPr id="4" name="Espace réservé du numéro de diapositive 3">
            <a:extLst>
              <a:ext uri="{FF2B5EF4-FFF2-40B4-BE49-F238E27FC236}">
                <a16:creationId xmlns:a16="http://schemas.microsoft.com/office/drawing/2014/main" id="{E5B15F14-931E-F96D-71B6-D77F5330E2AB}"/>
              </a:ext>
            </a:extLst>
          </p:cNvPr>
          <p:cNvSpPr>
            <a:spLocks noGrp="1"/>
          </p:cNvSpPr>
          <p:nvPr>
            <p:ph type="sldNum" sz="quarter" idx="11"/>
          </p:nvPr>
        </p:nvSpPr>
        <p:spPr>
          <a:xfrm>
            <a:off x="11625007" y="6526388"/>
            <a:ext cx="531367" cy="206189"/>
          </a:xfrm>
        </p:spPr>
        <p:txBody>
          <a:bodyPr/>
          <a:lstStyle/>
          <a:p>
            <a:fld id="{31926C06-7B81-A449-8A9E-FA2C54DC00E5}" type="slidenum">
              <a:rPr lang="fr-FR" smtClean="0"/>
              <a:pPr/>
              <a:t>4</a:t>
            </a:fld>
            <a:endParaRPr lang="fr-FR"/>
          </a:p>
        </p:txBody>
      </p:sp>
      <p:sp>
        <p:nvSpPr>
          <p:cNvPr id="16" name="Espace réservé du contenu 15">
            <a:extLst>
              <a:ext uri="{FF2B5EF4-FFF2-40B4-BE49-F238E27FC236}">
                <a16:creationId xmlns:a16="http://schemas.microsoft.com/office/drawing/2014/main" id="{ADF4DD6F-6D5B-3882-101A-016EA6307AF3}"/>
              </a:ext>
            </a:extLst>
          </p:cNvPr>
          <p:cNvSpPr>
            <a:spLocks noGrp="1"/>
          </p:cNvSpPr>
          <p:nvPr>
            <p:ph idx="13"/>
          </p:nvPr>
        </p:nvSpPr>
        <p:spPr/>
        <p:txBody>
          <a:bodyPr/>
          <a:lstStyle/>
          <a:p>
            <a:pPr marL="380365" indent="-380365"/>
            <a:r>
              <a:rPr lang="fr-FR"/>
              <a:t>Régional</a:t>
            </a:r>
            <a:endParaRPr lang="fr-FR">
              <a:ea typeface="Calibri"/>
              <a:cs typeface="Calibri"/>
            </a:endParaRPr>
          </a:p>
          <a:p>
            <a:pPr marL="431364" lvl="1" indent="-380365"/>
            <a:r>
              <a:rPr lang="fr-FR" b="0"/>
              <a:t>Formation des agents de la vaccination</a:t>
            </a:r>
          </a:p>
          <a:p>
            <a:pPr marL="431364" lvl="1" indent="-380365"/>
            <a:r>
              <a:rPr lang="fr-FR" b="0">
                <a:ea typeface="Calibri"/>
                <a:cs typeface="Calibri"/>
              </a:rPr>
              <a:t>Coordination du projet : évaluation hebdomadaire</a:t>
            </a:r>
          </a:p>
        </p:txBody>
      </p:sp>
      <p:sp>
        <p:nvSpPr>
          <p:cNvPr id="17" name="Espace réservé du contenu 16">
            <a:extLst>
              <a:ext uri="{FF2B5EF4-FFF2-40B4-BE49-F238E27FC236}">
                <a16:creationId xmlns:a16="http://schemas.microsoft.com/office/drawing/2014/main" id="{11788353-4040-E160-F1BD-A7DB9042654D}"/>
              </a:ext>
            </a:extLst>
          </p:cNvPr>
          <p:cNvSpPr>
            <a:spLocks noGrp="1"/>
          </p:cNvSpPr>
          <p:nvPr>
            <p:ph idx="14"/>
          </p:nvPr>
        </p:nvSpPr>
        <p:spPr/>
        <p:txBody>
          <a:bodyPr/>
          <a:lstStyle/>
          <a:p>
            <a:r>
              <a:rPr lang="fr-FR"/>
              <a:t>District de santé</a:t>
            </a:r>
          </a:p>
          <a:p>
            <a:pPr lvl="1"/>
            <a:r>
              <a:rPr lang="fr-FR" b="0"/>
              <a:t>Formation des agents de la vaccination </a:t>
            </a:r>
          </a:p>
          <a:p>
            <a:pPr lvl="1"/>
            <a:r>
              <a:rPr lang="fr-FR" b="0"/>
              <a:t>suivi de proximité de l’enregistrement des séances de vaccination</a:t>
            </a:r>
            <a:endParaRPr lang="fr-FR" b="0">
              <a:ea typeface="Calibri"/>
              <a:cs typeface="Calibri"/>
            </a:endParaRPr>
          </a:p>
          <a:p>
            <a:endParaRPr lang="fr-FR"/>
          </a:p>
        </p:txBody>
      </p:sp>
      <p:sp>
        <p:nvSpPr>
          <p:cNvPr id="2" name="Titre 1">
            <a:extLst>
              <a:ext uri="{FF2B5EF4-FFF2-40B4-BE49-F238E27FC236}">
                <a16:creationId xmlns:a16="http://schemas.microsoft.com/office/drawing/2014/main" id="{EA9219EC-364B-A3CD-B8BB-A715AFAE0F21}"/>
              </a:ext>
            </a:extLst>
          </p:cNvPr>
          <p:cNvSpPr>
            <a:spLocks noGrp="1"/>
          </p:cNvSpPr>
          <p:nvPr>
            <p:ph type="title"/>
          </p:nvPr>
        </p:nvSpPr>
        <p:spPr>
          <a:xfrm>
            <a:off x="677863" y="147782"/>
            <a:ext cx="10842625" cy="551643"/>
          </a:xfrm>
        </p:spPr>
        <p:txBody>
          <a:bodyPr>
            <a:normAutofit/>
          </a:bodyPr>
          <a:lstStyle/>
          <a:p>
            <a:r>
              <a:rPr lang="fr-FR" sz="2800">
                <a:solidFill>
                  <a:schemeClr val="accent4"/>
                </a:solidFill>
              </a:rPr>
              <a:t>Activités menées</a:t>
            </a:r>
          </a:p>
        </p:txBody>
      </p:sp>
      <p:sp>
        <p:nvSpPr>
          <p:cNvPr id="20" name="Rectangle 19">
            <a:extLst>
              <a:ext uri="{FF2B5EF4-FFF2-40B4-BE49-F238E27FC236}">
                <a16:creationId xmlns:a16="http://schemas.microsoft.com/office/drawing/2014/main" id="{D0200BCC-5D97-9272-4B0A-7741B2F3A27C}"/>
              </a:ext>
            </a:extLst>
          </p:cNvPr>
          <p:cNvSpPr/>
          <p:nvPr/>
        </p:nvSpPr>
        <p:spPr>
          <a:xfrm>
            <a:off x="4497927" y="699425"/>
            <a:ext cx="4772025" cy="369332"/>
          </a:xfrm>
          <a:prstGeom prst="rect">
            <a:avLst/>
          </a:prstGeom>
        </p:spPr>
        <p:txBody>
          <a:bodyPr wrap="square">
            <a:spAutoFit/>
          </a:bodyPr>
          <a:lstStyle/>
          <a:p>
            <a:r>
              <a:rPr lang="en-US">
                <a:solidFill>
                  <a:schemeClr val="bg1"/>
                </a:solidFill>
              </a:rPr>
              <a:t>*</a:t>
            </a:r>
            <a:r>
              <a:rPr lang="en-US" sz="1100">
                <a:solidFill>
                  <a:schemeClr val="bg1"/>
                </a:solidFill>
              </a:rPr>
              <a:t>IRMMA : Identify – Reach – Monitor – Measure – Advocate</a:t>
            </a:r>
          </a:p>
        </p:txBody>
      </p:sp>
    </p:spTree>
    <p:extLst>
      <p:ext uri="{BB962C8B-B14F-4D97-AF65-F5344CB8AC3E}">
        <p14:creationId xmlns:p14="http://schemas.microsoft.com/office/powerpoint/2010/main" val="34121274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1DCF4F83-6BF7-F5BD-08B8-A0D4DE14DA3F}"/>
              </a:ext>
            </a:extLst>
          </p:cNvPr>
          <p:cNvSpPr>
            <a:spLocks noGrp="1"/>
          </p:cNvSpPr>
          <p:nvPr>
            <p:ph type="title"/>
          </p:nvPr>
        </p:nvSpPr>
        <p:spPr/>
        <p:txBody>
          <a:bodyPr/>
          <a:lstStyle/>
          <a:p>
            <a:r>
              <a:rPr lang="fr-FR"/>
              <a:t>Le flux de données</a:t>
            </a:r>
          </a:p>
        </p:txBody>
      </p:sp>
      <p:sp>
        <p:nvSpPr>
          <p:cNvPr id="3" name="Espace réservé du numéro de diapositive 2">
            <a:extLst>
              <a:ext uri="{FF2B5EF4-FFF2-40B4-BE49-F238E27FC236}">
                <a16:creationId xmlns:a16="http://schemas.microsoft.com/office/drawing/2014/main" id="{7E92D87B-305C-9E37-A6CF-4E2B22AAABBE}"/>
              </a:ext>
            </a:extLst>
          </p:cNvPr>
          <p:cNvSpPr>
            <a:spLocks noGrp="1"/>
          </p:cNvSpPr>
          <p:nvPr>
            <p:ph type="sldNum" sz="quarter" idx="16"/>
          </p:nvPr>
        </p:nvSpPr>
        <p:spPr/>
        <p:txBody>
          <a:bodyPr/>
          <a:lstStyle/>
          <a:p>
            <a:pPr algn="l"/>
            <a:fld id="{733122C9-A0B9-462F-8757-0847AD287B63}" type="slidenum">
              <a:rPr lang="en-GB" noProof="0" smtClean="0"/>
              <a:pPr algn="l"/>
              <a:t>5</a:t>
            </a:fld>
            <a:endParaRPr lang="en-GB" noProof="0"/>
          </a:p>
        </p:txBody>
      </p:sp>
      <p:pic>
        <p:nvPicPr>
          <p:cNvPr id="4" name="Image 3">
            <a:extLst>
              <a:ext uri="{FF2B5EF4-FFF2-40B4-BE49-F238E27FC236}">
                <a16:creationId xmlns:a16="http://schemas.microsoft.com/office/drawing/2014/main" id="{D6D1D340-C6FE-864E-BDEA-724287F1CEBA}"/>
              </a:ext>
            </a:extLst>
          </p:cNvPr>
          <p:cNvPicPr>
            <a:picLocks noChangeAspect="1"/>
          </p:cNvPicPr>
          <p:nvPr/>
        </p:nvPicPr>
        <p:blipFill>
          <a:blip r:embed="rId2"/>
          <a:stretch>
            <a:fillRect/>
          </a:stretch>
        </p:blipFill>
        <p:spPr>
          <a:xfrm>
            <a:off x="200257" y="7084036"/>
            <a:ext cx="7876943" cy="5234190"/>
          </a:xfrm>
          <a:prstGeom prst="rect">
            <a:avLst/>
          </a:prstGeom>
        </p:spPr>
      </p:pic>
      <p:sp>
        <p:nvSpPr>
          <p:cNvPr id="5" name="Rectangle 4">
            <a:extLst>
              <a:ext uri="{FF2B5EF4-FFF2-40B4-BE49-F238E27FC236}">
                <a16:creationId xmlns:a16="http://schemas.microsoft.com/office/drawing/2014/main" id="{427F653E-8E00-43DB-D1A7-F408C3902721}"/>
              </a:ext>
            </a:extLst>
          </p:cNvPr>
          <p:cNvSpPr/>
          <p:nvPr/>
        </p:nvSpPr>
        <p:spPr>
          <a:xfrm>
            <a:off x="8229600" y="5499100"/>
            <a:ext cx="2349500" cy="5461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a:t>Registre de vaccination/ fiche de pointage</a:t>
            </a:r>
          </a:p>
        </p:txBody>
      </p:sp>
      <p:pic>
        <p:nvPicPr>
          <p:cNvPr id="1028" name="Picture 4" descr="Iaso – Applications sur Google Play">
            <a:extLst>
              <a:ext uri="{FF2B5EF4-FFF2-40B4-BE49-F238E27FC236}">
                <a16:creationId xmlns:a16="http://schemas.microsoft.com/office/drawing/2014/main" id="{70B93868-7527-9F4D-29D1-C41AFC2B0D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18575" y="4214093"/>
            <a:ext cx="971550" cy="97155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ECB72F0A-70D1-4693-B82F-602A666416A3}"/>
              </a:ext>
            </a:extLst>
          </p:cNvPr>
          <p:cNvSpPr/>
          <p:nvPr/>
        </p:nvSpPr>
        <p:spPr>
          <a:xfrm>
            <a:off x="8229600" y="3310587"/>
            <a:ext cx="2349500" cy="59004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a:t>MVI Dashboard</a:t>
            </a:r>
          </a:p>
        </p:txBody>
      </p:sp>
      <p:sp>
        <p:nvSpPr>
          <p:cNvPr id="10" name="Rectangle 9">
            <a:extLst>
              <a:ext uri="{FF2B5EF4-FFF2-40B4-BE49-F238E27FC236}">
                <a16:creationId xmlns:a16="http://schemas.microsoft.com/office/drawing/2014/main" id="{8A68E2B3-659E-02A6-0DE8-257529D89183}"/>
              </a:ext>
            </a:extLst>
          </p:cNvPr>
          <p:cNvSpPr/>
          <p:nvPr/>
        </p:nvSpPr>
        <p:spPr>
          <a:xfrm>
            <a:off x="8229600" y="2358268"/>
            <a:ext cx="2349500" cy="59004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a:t>Rapport électronique au format du RMA</a:t>
            </a:r>
          </a:p>
        </p:txBody>
      </p:sp>
      <p:pic>
        <p:nvPicPr>
          <p:cNvPr id="1030" name="Picture 6" descr="Products - public | Digital Impact Exchange">
            <a:extLst>
              <a:ext uri="{FF2B5EF4-FFF2-40B4-BE49-F238E27FC236}">
                <a16:creationId xmlns:a16="http://schemas.microsoft.com/office/drawing/2014/main" id="{756E07A0-718A-D3B2-45AA-3D707ED2EB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6794" y="1392934"/>
            <a:ext cx="1428750" cy="1428750"/>
          </a:xfrm>
          <a:prstGeom prst="rect">
            <a:avLst/>
          </a:prstGeom>
          <a:noFill/>
          <a:extLst>
            <a:ext uri="{909E8E84-426E-40DD-AFC4-6F175D3DCCD1}">
              <a14:hiddenFill xmlns:a14="http://schemas.microsoft.com/office/drawing/2010/main">
                <a:solidFill>
                  <a:srgbClr val="FFFFFF"/>
                </a:solidFill>
              </a14:hiddenFill>
            </a:ext>
          </a:extLst>
        </p:spPr>
      </p:pic>
      <p:sp>
        <p:nvSpPr>
          <p:cNvPr id="12" name="Flèche vers le haut 11">
            <a:extLst>
              <a:ext uri="{FF2B5EF4-FFF2-40B4-BE49-F238E27FC236}">
                <a16:creationId xmlns:a16="http://schemas.microsoft.com/office/drawing/2014/main" id="{C8777A1D-C8AF-E1EF-E0E4-854034547602}"/>
              </a:ext>
            </a:extLst>
          </p:cNvPr>
          <p:cNvSpPr/>
          <p:nvPr/>
        </p:nvSpPr>
        <p:spPr>
          <a:xfrm>
            <a:off x="9236075" y="5185643"/>
            <a:ext cx="336550" cy="313457"/>
          </a:xfrm>
          <a:prstGeom prst="upArrow">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Flèche vers le haut 12">
            <a:extLst>
              <a:ext uri="{FF2B5EF4-FFF2-40B4-BE49-F238E27FC236}">
                <a16:creationId xmlns:a16="http://schemas.microsoft.com/office/drawing/2014/main" id="{11904D91-C281-BEC7-D7A7-1D7F921D2490}"/>
              </a:ext>
            </a:extLst>
          </p:cNvPr>
          <p:cNvSpPr/>
          <p:nvPr/>
        </p:nvSpPr>
        <p:spPr>
          <a:xfrm>
            <a:off x="9236075" y="3900636"/>
            <a:ext cx="336550" cy="313457"/>
          </a:xfrm>
          <a:prstGeom prst="upArrow">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Flèche vers le haut 13">
            <a:extLst>
              <a:ext uri="{FF2B5EF4-FFF2-40B4-BE49-F238E27FC236}">
                <a16:creationId xmlns:a16="http://schemas.microsoft.com/office/drawing/2014/main" id="{683EFA63-2DF1-B492-03C1-47A305964E10}"/>
              </a:ext>
            </a:extLst>
          </p:cNvPr>
          <p:cNvSpPr/>
          <p:nvPr/>
        </p:nvSpPr>
        <p:spPr>
          <a:xfrm>
            <a:off x="9191625" y="2969756"/>
            <a:ext cx="336550" cy="313457"/>
          </a:xfrm>
          <a:prstGeom prst="upArrow">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7473B53F-E7F6-DA38-891E-F2191DD87336}"/>
              </a:ext>
            </a:extLst>
          </p:cNvPr>
          <p:cNvSpPr/>
          <p:nvPr/>
        </p:nvSpPr>
        <p:spPr>
          <a:xfrm>
            <a:off x="8229600" y="1395737"/>
            <a:ext cx="2349500" cy="590049"/>
          </a:xfrm>
          <a:prstGeom prst="rect">
            <a:avLst/>
          </a:prstGeom>
          <a:ln>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sz="1600"/>
              <a:t>Remplissage du RMA</a:t>
            </a:r>
          </a:p>
        </p:txBody>
      </p:sp>
      <p:sp>
        <p:nvSpPr>
          <p:cNvPr id="16" name="Flèche vers le haut 15">
            <a:extLst>
              <a:ext uri="{FF2B5EF4-FFF2-40B4-BE49-F238E27FC236}">
                <a16:creationId xmlns:a16="http://schemas.microsoft.com/office/drawing/2014/main" id="{35BF42DD-B77D-8932-A9F0-F3E2402FB28B}"/>
              </a:ext>
            </a:extLst>
          </p:cNvPr>
          <p:cNvSpPr/>
          <p:nvPr/>
        </p:nvSpPr>
        <p:spPr>
          <a:xfrm>
            <a:off x="9204325" y="2004556"/>
            <a:ext cx="336550" cy="313457"/>
          </a:xfrm>
          <a:prstGeom prst="upArrow">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E8D976E9-9039-0DB8-9B0B-36759ADBE12A}"/>
              </a:ext>
            </a:extLst>
          </p:cNvPr>
          <p:cNvSpPr/>
          <p:nvPr/>
        </p:nvSpPr>
        <p:spPr>
          <a:xfrm>
            <a:off x="431800" y="5045943"/>
            <a:ext cx="1663700" cy="58650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FOSA</a:t>
            </a:r>
          </a:p>
        </p:txBody>
      </p:sp>
      <p:sp>
        <p:nvSpPr>
          <p:cNvPr id="18" name="Rectangle 17">
            <a:extLst>
              <a:ext uri="{FF2B5EF4-FFF2-40B4-BE49-F238E27FC236}">
                <a16:creationId xmlns:a16="http://schemas.microsoft.com/office/drawing/2014/main" id="{13E9EB56-2B9D-DEA6-7C1B-2FCE0577788C}"/>
              </a:ext>
            </a:extLst>
          </p:cNvPr>
          <p:cNvSpPr/>
          <p:nvPr/>
        </p:nvSpPr>
        <p:spPr>
          <a:xfrm>
            <a:off x="460838" y="4133022"/>
            <a:ext cx="1663700" cy="58650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Aire de santé</a:t>
            </a:r>
          </a:p>
        </p:txBody>
      </p:sp>
      <p:sp>
        <p:nvSpPr>
          <p:cNvPr id="19" name="Rectangle 18">
            <a:extLst>
              <a:ext uri="{FF2B5EF4-FFF2-40B4-BE49-F238E27FC236}">
                <a16:creationId xmlns:a16="http://schemas.microsoft.com/office/drawing/2014/main" id="{F507C9D2-75AC-56C7-8146-4D9723A3F81C}"/>
              </a:ext>
            </a:extLst>
          </p:cNvPr>
          <p:cNvSpPr/>
          <p:nvPr/>
        </p:nvSpPr>
        <p:spPr>
          <a:xfrm>
            <a:off x="489876" y="3220101"/>
            <a:ext cx="1663700" cy="58650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District de santé</a:t>
            </a:r>
          </a:p>
        </p:txBody>
      </p:sp>
      <p:sp>
        <p:nvSpPr>
          <p:cNvPr id="20" name="Rectangle 19">
            <a:extLst>
              <a:ext uri="{FF2B5EF4-FFF2-40B4-BE49-F238E27FC236}">
                <a16:creationId xmlns:a16="http://schemas.microsoft.com/office/drawing/2014/main" id="{444B80E9-F191-8595-7C33-B26EF713CBC9}"/>
              </a:ext>
            </a:extLst>
          </p:cNvPr>
          <p:cNvSpPr/>
          <p:nvPr/>
        </p:nvSpPr>
        <p:spPr>
          <a:xfrm>
            <a:off x="518914" y="2307180"/>
            <a:ext cx="1663700" cy="58650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Région</a:t>
            </a:r>
          </a:p>
        </p:txBody>
      </p:sp>
      <p:sp>
        <p:nvSpPr>
          <p:cNvPr id="21" name="Rectangle 20">
            <a:extLst>
              <a:ext uri="{FF2B5EF4-FFF2-40B4-BE49-F238E27FC236}">
                <a16:creationId xmlns:a16="http://schemas.microsoft.com/office/drawing/2014/main" id="{DF64C71C-284C-6035-92AF-8DEF4C29357B}"/>
              </a:ext>
            </a:extLst>
          </p:cNvPr>
          <p:cNvSpPr/>
          <p:nvPr/>
        </p:nvSpPr>
        <p:spPr>
          <a:xfrm>
            <a:off x="547952" y="1394259"/>
            <a:ext cx="1663700" cy="58650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National</a:t>
            </a:r>
          </a:p>
        </p:txBody>
      </p:sp>
      <p:sp>
        <p:nvSpPr>
          <p:cNvPr id="22" name="Rectangle : coins arrondis 21">
            <a:extLst>
              <a:ext uri="{FF2B5EF4-FFF2-40B4-BE49-F238E27FC236}">
                <a16:creationId xmlns:a16="http://schemas.microsoft.com/office/drawing/2014/main" id="{DF4E1922-9352-8A28-6B59-E0DB0CEFCE0C}"/>
              </a:ext>
            </a:extLst>
          </p:cNvPr>
          <p:cNvSpPr/>
          <p:nvPr/>
        </p:nvSpPr>
        <p:spPr>
          <a:xfrm>
            <a:off x="7772400" y="1193800"/>
            <a:ext cx="3276600" cy="5054600"/>
          </a:xfrm>
          <a:prstGeom prst="round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ZoneTexte 22">
            <a:extLst>
              <a:ext uri="{FF2B5EF4-FFF2-40B4-BE49-F238E27FC236}">
                <a16:creationId xmlns:a16="http://schemas.microsoft.com/office/drawing/2014/main" id="{F7AF8A7E-5666-A08E-DFC3-8A5CF212A943}"/>
              </a:ext>
            </a:extLst>
          </p:cNvPr>
          <p:cNvSpPr txBox="1"/>
          <p:nvPr/>
        </p:nvSpPr>
        <p:spPr>
          <a:xfrm>
            <a:off x="8077200" y="774700"/>
            <a:ext cx="2743200" cy="338554"/>
          </a:xfrm>
          <a:prstGeom prst="rect">
            <a:avLst/>
          </a:prstGeom>
          <a:noFill/>
        </p:spPr>
        <p:txBody>
          <a:bodyPr wrap="square" rtlCol="0">
            <a:spAutoFit/>
          </a:bodyPr>
          <a:lstStyle/>
          <a:p>
            <a:pPr algn="ctr"/>
            <a:r>
              <a:rPr lang="fr-FR" sz="1600" b="1"/>
              <a:t>Poste de vaccination</a:t>
            </a:r>
          </a:p>
        </p:txBody>
      </p:sp>
      <p:sp>
        <p:nvSpPr>
          <p:cNvPr id="24" name="Flèche vers le haut 23">
            <a:extLst>
              <a:ext uri="{FF2B5EF4-FFF2-40B4-BE49-F238E27FC236}">
                <a16:creationId xmlns:a16="http://schemas.microsoft.com/office/drawing/2014/main" id="{9308AE5A-0D6F-93E0-36CE-E36D71291C64}"/>
              </a:ext>
            </a:extLst>
          </p:cNvPr>
          <p:cNvSpPr/>
          <p:nvPr/>
        </p:nvSpPr>
        <p:spPr>
          <a:xfrm rot="15045450">
            <a:off x="6956856" y="715301"/>
            <a:ext cx="336550" cy="2239343"/>
          </a:xfrm>
          <a:prstGeom prst="upArrow">
            <a:avLst>
              <a:gd name="adj1" fmla="val 52370"/>
              <a:gd name="adj2" fmla="val 50000"/>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ZoneTexte 24">
            <a:extLst>
              <a:ext uri="{FF2B5EF4-FFF2-40B4-BE49-F238E27FC236}">
                <a16:creationId xmlns:a16="http://schemas.microsoft.com/office/drawing/2014/main" id="{749C1DB9-B96A-96E3-FA66-B8872EA52ADD}"/>
              </a:ext>
            </a:extLst>
          </p:cNvPr>
          <p:cNvSpPr txBox="1"/>
          <p:nvPr/>
        </p:nvSpPr>
        <p:spPr>
          <a:xfrm rot="20338376">
            <a:off x="6640238" y="1124351"/>
            <a:ext cx="1130300" cy="523220"/>
          </a:xfrm>
          <a:prstGeom prst="rect">
            <a:avLst/>
          </a:prstGeom>
          <a:noFill/>
        </p:spPr>
        <p:txBody>
          <a:bodyPr wrap="square" rtlCol="0">
            <a:spAutoFit/>
          </a:bodyPr>
          <a:lstStyle/>
          <a:p>
            <a:r>
              <a:rPr lang="fr-FR" sz="1400"/>
              <a:t>Saisie des données</a:t>
            </a:r>
          </a:p>
        </p:txBody>
      </p:sp>
      <p:sp>
        <p:nvSpPr>
          <p:cNvPr id="26" name="Flèche vers le haut 25">
            <a:extLst>
              <a:ext uri="{FF2B5EF4-FFF2-40B4-BE49-F238E27FC236}">
                <a16:creationId xmlns:a16="http://schemas.microsoft.com/office/drawing/2014/main" id="{E7610EE1-5C43-3E9E-DA5B-88373E6AB36E}"/>
              </a:ext>
            </a:extLst>
          </p:cNvPr>
          <p:cNvSpPr/>
          <p:nvPr/>
        </p:nvSpPr>
        <p:spPr>
          <a:xfrm rot="5400000">
            <a:off x="4759325" y="2421595"/>
            <a:ext cx="336550" cy="5664200"/>
          </a:xfrm>
          <a:prstGeom prst="upArrow">
            <a:avLst>
              <a:gd name="adj1" fmla="val 52370"/>
              <a:gd name="adj2" fmla="val 50000"/>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32" name="Picture 8" descr="Dashboard - Free seo and web icons">
            <a:extLst>
              <a:ext uri="{FF2B5EF4-FFF2-40B4-BE49-F238E27FC236}">
                <a16:creationId xmlns:a16="http://schemas.microsoft.com/office/drawing/2014/main" id="{2B790F16-2041-BBB8-DA19-F6FD1CBC354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6794" y="3055001"/>
            <a:ext cx="1428750" cy="1428750"/>
          </a:xfrm>
          <a:prstGeom prst="rect">
            <a:avLst/>
          </a:prstGeom>
          <a:noFill/>
          <a:extLst>
            <a:ext uri="{909E8E84-426E-40DD-AFC4-6F175D3DCCD1}">
              <a14:hiddenFill xmlns:a14="http://schemas.microsoft.com/office/drawing/2010/main">
                <a:solidFill>
                  <a:srgbClr val="FFFFFF"/>
                </a:solidFill>
              </a14:hiddenFill>
            </a:ext>
          </a:extLst>
        </p:spPr>
      </p:pic>
      <p:sp>
        <p:nvSpPr>
          <p:cNvPr id="27" name="Flèche vers le bas 26">
            <a:extLst>
              <a:ext uri="{FF2B5EF4-FFF2-40B4-BE49-F238E27FC236}">
                <a16:creationId xmlns:a16="http://schemas.microsoft.com/office/drawing/2014/main" id="{9D12A62B-F72D-C434-D2B4-5C10CF607891}"/>
              </a:ext>
            </a:extLst>
          </p:cNvPr>
          <p:cNvSpPr/>
          <p:nvPr/>
        </p:nvSpPr>
        <p:spPr>
          <a:xfrm rot="17463207">
            <a:off x="3376872" y="2163143"/>
            <a:ext cx="361950" cy="2189011"/>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 coins arrondis 27">
            <a:extLst>
              <a:ext uri="{FF2B5EF4-FFF2-40B4-BE49-F238E27FC236}">
                <a16:creationId xmlns:a16="http://schemas.microsoft.com/office/drawing/2014/main" id="{9A72BC17-5FB8-C600-8B14-A2DF307786FE}"/>
              </a:ext>
            </a:extLst>
          </p:cNvPr>
          <p:cNvSpPr/>
          <p:nvPr/>
        </p:nvSpPr>
        <p:spPr>
          <a:xfrm>
            <a:off x="109981" y="1307091"/>
            <a:ext cx="2195802" cy="4480358"/>
          </a:xfrm>
          <a:prstGeom prst="roundRect">
            <a:avLst/>
          </a:prstGeom>
          <a:no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ZoneTexte 28">
            <a:extLst>
              <a:ext uri="{FF2B5EF4-FFF2-40B4-BE49-F238E27FC236}">
                <a16:creationId xmlns:a16="http://schemas.microsoft.com/office/drawing/2014/main" id="{4037B6D7-2CC1-3476-3BAA-9D42BFFFD1E5}"/>
              </a:ext>
            </a:extLst>
          </p:cNvPr>
          <p:cNvSpPr txBox="1"/>
          <p:nvPr/>
        </p:nvSpPr>
        <p:spPr>
          <a:xfrm>
            <a:off x="-143512" y="954869"/>
            <a:ext cx="2449295" cy="338554"/>
          </a:xfrm>
          <a:prstGeom prst="rect">
            <a:avLst/>
          </a:prstGeom>
          <a:solidFill>
            <a:schemeClr val="accent1"/>
          </a:solidFill>
          <a:effectLst>
            <a:softEdge rad="513862"/>
          </a:effectLst>
        </p:spPr>
        <p:txBody>
          <a:bodyPr wrap="square" rtlCol="0">
            <a:spAutoFit/>
          </a:bodyPr>
          <a:lstStyle/>
          <a:p>
            <a:pPr algn="ctr"/>
            <a:r>
              <a:rPr lang="fr-FR" sz="1600" b="1"/>
              <a:t>Système de national</a:t>
            </a:r>
          </a:p>
        </p:txBody>
      </p:sp>
      <p:sp>
        <p:nvSpPr>
          <p:cNvPr id="30" name="Flèche vers le bas 29">
            <a:extLst>
              <a:ext uri="{FF2B5EF4-FFF2-40B4-BE49-F238E27FC236}">
                <a16:creationId xmlns:a16="http://schemas.microsoft.com/office/drawing/2014/main" id="{4D0E0523-5F89-8417-9C1D-74B264654218}"/>
              </a:ext>
            </a:extLst>
          </p:cNvPr>
          <p:cNvSpPr/>
          <p:nvPr/>
        </p:nvSpPr>
        <p:spPr>
          <a:xfrm>
            <a:off x="5349014" y="2476145"/>
            <a:ext cx="45719" cy="605301"/>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Flèche vers le bas 30">
            <a:extLst>
              <a:ext uri="{FF2B5EF4-FFF2-40B4-BE49-F238E27FC236}">
                <a16:creationId xmlns:a16="http://schemas.microsoft.com/office/drawing/2014/main" id="{365173C8-B5CC-1BF8-63F5-BA6B91AC3F00}"/>
              </a:ext>
            </a:extLst>
          </p:cNvPr>
          <p:cNvSpPr/>
          <p:nvPr/>
        </p:nvSpPr>
        <p:spPr>
          <a:xfrm rot="6615435">
            <a:off x="7445931" y="2569834"/>
            <a:ext cx="51079" cy="3162586"/>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ZoneTexte 31">
            <a:extLst>
              <a:ext uri="{FF2B5EF4-FFF2-40B4-BE49-F238E27FC236}">
                <a16:creationId xmlns:a16="http://schemas.microsoft.com/office/drawing/2014/main" id="{23C0A023-C620-FAB8-6FCC-74ACEDB4CBE9}"/>
              </a:ext>
            </a:extLst>
          </p:cNvPr>
          <p:cNvSpPr txBox="1"/>
          <p:nvPr/>
        </p:nvSpPr>
        <p:spPr>
          <a:xfrm rot="1223477">
            <a:off x="6657974" y="3507766"/>
            <a:ext cx="1130300" cy="523220"/>
          </a:xfrm>
          <a:prstGeom prst="rect">
            <a:avLst/>
          </a:prstGeom>
          <a:noFill/>
        </p:spPr>
        <p:txBody>
          <a:bodyPr wrap="square" rtlCol="0">
            <a:spAutoFit/>
          </a:bodyPr>
          <a:lstStyle/>
          <a:p>
            <a:r>
              <a:rPr lang="fr-FR" sz="1400"/>
              <a:t>Sources de données</a:t>
            </a:r>
          </a:p>
        </p:txBody>
      </p:sp>
      <p:sp>
        <p:nvSpPr>
          <p:cNvPr id="33" name="ZoneTexte 32">
            <a:extLst>
              <a:ext uri="{FF2B5EF4-FFF2-40B4-BE49-F238E27FC236}">
                <a16:creationId xmlns:a16="http://schemas.microsoft.com/office/drawing/2014/main" id="{E388EED4-52AB-3C79-E982-F6D8DE6E7F06}"/>
              </a:ext>
            </a:extLst>
          </p:cNvPr>
          <p:cNvSpPr txBox="1"/>
          <p:nvPr/>
        </p:nvSpPr>
        <p:spPr>
          <a:xfrm>
            <a:off x="5380477" y="2499834"/>
            <a:ext cx="1130300" cy="523220"/>
          </a:xfrm>
          <a:prstGeom prst="rect">
            <a:avLst/>
          </a:prstGeom>
          <a:noFill/>
        </p:spPr>
        <p:txBody>
          <a:bodyPr wrap="square" rtlCol="0">
            <a:spAutoFit/>
          </a:bodyPr>
          <a:lstStyle/>
          <a:p>
            <a:r>
              <a:rPr lang="fr-FR" sz="1400"/>
              <a:t>Sources de données</a:t>
            </a:r>
          </a:p>
        </p:txBody>
      </p:sp>
      <p:sp>
        <p:nvSpPr>
          <p:cNvPr id="35" name="ZoneTexte 34">
            <a:extLst>
              <a:ext uri="{FF2B5EF4-FFF2-40B4-BE49-F238E27FC236}">
                <a16:creationId xmlns:a16="http://schemas.microsoft.com/office/drawing/2014/main" id="{5EA6FACC-4506-5134-4024-586FEB5D5AFC}"/>
              </a:ext>
            </a:extLst>
          </p:cNvPr>
          <p:cNvSpPr txBox="1"/>
          <p:nvPr/>
        </p:nvSpPr>
        <p:spPr>
          <a:xfrm rot="1259854">
            <a:off x="2872510" y="2570478"/>
            <a:ext cx="1130300" cy="523220"/>
          </a:xfrm>
          <a:prstGeom prst="rect">
            <a:avLst/>
          </a:prstGeom>
          <a:noFill/>
        </p:spPr>
        <p:txBody>
          <a:bodyPr wrap="square" rtlCol="0">
            <a:spAutoFit/>
          </a:bodyPr>
          <a:lstStyle/>
          <a:p>
            <a:r>
              <a:rPr lang="fr-FR" sz="1400"/>
              <a:t>Visualisation et feedback</a:t>
            </a:r>
          </a:p>
        </p:txBody>
      </p:sp>
      <p:sp>
        <p:nvSpPr>
          <p:cNvPr id="2" name="ZoneTexte 1">
            <a:extLst>
              <a:ext uri="{FF2B5EF4-FFF2-40B4-BE49-F238E27FC236}">
                <a16:creationId xmlns:a16="http://schemas.microsoft.com/office/drawing/2014/main" id="{9F448FA4-54DC-A548-3EE8-0D59BA357A9B}"/>
              </a:ext>
            </a:extLst>
          </p:cNvPr>
          <p:cNvSpPr txBox="1"/>
          <p:nvPr/>
        </p:nvSpPr>
        <p:spPr>
          <a:xfrm>
            <a:off x="4076331" y="4485394"/>
            <a:ext cx="2533074" cy="369332"/>
          </a:xfrm>
          <a:prstGeom prst="rect">
            <a:avLst/>
          </a:prstGeom>
          <a:noFill/>
        </p:spPr>
        <p:txBody>
          <a:bodyPr wrap="square" rtlCol="0">
            <a:spAutoFit/>
          </a:bodyPr>
          <a:lstStyle/>
          <a:p>
            <a:r>
              <a:rPr lang="fr-FR" b="1"/>
              <a:t>Tableau de bord de suivi</a:t>
            </a:r>
          </a:p>
        </p:txBody>
      </p:sp>
      <p:sp>
        <p:nvSpPr>
          <p:cNvPr id="9" name="ZoneTexte 8">
            <a:extLst>
              <a:ext uri="{FF2B5EF4-FFF2-40B4-BE49-F238E27FC236}">
                <a16:creationId xmlns:a16="http://schemas.microsoft.com/office/drawing/2014/main" id="{BC530A92-9311-E45A-FF13-0818090BBB9A}"/>
              </a:ext>
            </a:extLst>
          </p:cNvPr>
          <p:cNvSpPr txBox="1"/>
          <p:nvPr/>
        </p:nvSpPr>
        <p:spPr>
          <a:xfrm>
            <a:off x="2552700" y="5523901"/>
            <a:ext cx="5054092" cy="830997"/>
          </a:xfrm>
          <a:prstGeom prst="rect">
            <a:avLst/>
          </a:prstGeom>
          <a:noFill/>
          <a:ln>
            <a:solidFill>
              <a:srgbClr val="FF0000"/>
            </a:solidFill>
            <a:prstDash val="dash"/>
          </a:ln>
        </p:spPr>
        <p:txBody>
          <a:bodyPr wrap="square" rtlCol="0">
            <a:spAutoFit/>
          </a:bodyPr>
          <a:lstStyle/>
          <a:p>
            <a:r>
              <a:rPr lang="fr-FR" sz="1600"/>
              <a:t>Le remplissage du RMA est une étape à supprimer dans le futur, car les données devront être directement chargées dans le DHIS2</a:t>
            </a:r>
          </a:p>
        </p:txBody>
      </p:sp>
    </p:spTree>
    <p:extLst>
      <p:ext uri="{BB962C8B-B14F-4D97-AF65-F5344CB8AC3E}">
        <p14:creationId xmlns:p14="http://schemas.microsoft.com/office/powerpoint/2010/main" val="21074379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3018894-3DF1-94E4-797E-3FB43B91D497}"/>
              </a:ext>
            </a:extLst>
          </p:cNvPr>
          <p:cNvSpPr>
            <a:spLocks noGrp="1"/>
          </p:cNvSpPr>
          <p:nvPr>
            <p:ph type="title"/>
          </p:nvPr>
        </p:nvSpPr>
        <p:spPr/>
        <p:txBody>
          <a:bodyPr/>
          <a:lstStyle/>
          <a:p>
            <a:r>
              <a:rPr lang="fr-FR"/>
              <a:t>Résultats</a:t>
            </a:r>
          </a:p>
        </p:txBody>
      </p:sp>
      <p:sp>
        <p:nvSpPr>
          <p:cNvPr id="4" name="Espace réservé du numéro de diapositive 3">
            <a:extLst>
              <a:ext uri="{FF2B5EF4-FFF2-40B4-BE49-F238E27FC236}">
                <a16:creationId xmlns:a16="http://schemas.microsoft.com/office/drawing/2014/main" id="{EBB44CA3-45E1-EE94-2E86-B3735676EEC1}"/>
              </a:ext>
            </a:extLst>
          </p:cNvPr>
          <p:cNvSpPr>
            <a:spLocks noGrp="1"/>
          </p:cNvSpPr>
          <p:nvPr>
            <p:ph type="sldNum" sz="quarter" idx="16"/>
          </p:nvPr>
        </p:nvSpPr>
        <p:spPr/>
        <p:txBody>
          <a:bodyPr/>
          <a:lstStyle/>
          <a:p>
            <a:pPr algn="l"/>
            <a:fld id="{733122C9-A0B9-462F-8757-0847AD287B63}" type="slidenum">
              <a:rPr lang="en-GB" noProof="0" smtClean="0"/>
              <a:pPr algn="l"/>
              <a:t>6</a:t>
            </a:fld>
            <a:endParaRPr lang="en-GB" noProof="0"/>
          </a:p>
        </p:txBody>
      </p:sp>
      <p:pic>
        <p:nvPicPr>
          <p:cNvPr id="6" name="Image 5" descr="Une image contenant carte, texte, atlas&#10;&#10;Description générée automatiquement">
            <a:extLst>
              <a:ext uri="{FF2B5EF4-FFF2-40B4-BE49-F238E27FC236}">
                <a16:creationId xmlns:a16="http://schemas.microsoft.com/office/drawing/2014/main" id="{9E1C58A1-3778-5ECF-72AB-B1315662B683}"/>
              </a:ext>
            </a:extLst>
          </p:cNvPr>
          <p:cNvPicPr>
            <a:picLocks noChangeAspect="1"/>
          </p:cNvPicPr>
          <p:nvPr/>
        </p:nvPicPr>
        <p:blipFill>
          <a:blip r:embed="rId2"/>
          <a:stretch>
            <a:fillRect/>
          </a:stretch>
        </p:blipFill>
        <p:spPr>
          <a:xfrm>
            <a:off x="723900" y="1001888"/>
            <a:ext cx="3208225" cy="4560712"/>
          </a:xfrm>
          <a:prstGeom prst="rect">
            <a:avLst/>
          </a:prstGeom>
        </p:spPr>
      </p:pic>
      <p:pic>
        <p:nvPicPr>
          <p:cNvPr id="13" name="Image 12" descr="Une image contenant texte, carte, diagramme&#10;&#10;Description générée automatiquement">
            <a:extLst>
              <a:ext uri="{FF2B5EF4-FFF2-40B4-BE49-F238E27FC236}">
                <a16:creationId xmlns:a16="http://schemas.microsoft.com/office/drawing/2014/main" id="{8AEEF549-D82B-BFB3-F7AC-85C058FDEFD4}"/>
              </a:ext>
            </a:extLst>
          </p:cNvPr>
          <p:cNvPicPr>
            <a:picLocks noChangeAspect="1"/>
          </p:cNvPicPr>
          <p:nvPr/>
        </p:nvPicPr>
        <p:blipFill>
          <a:blip r:embed="rId3"/>
          <a:stretch>
            <a:fillRect/>
          </a:stretch>
        </p:blipFill>
        <p:spPr>
          <a:xfrm>
            <a:off x="4322190" y="1001888"/>
            <a:ext cx="7772400" cy="3628646"/>
          </a:xfrm>
          <a:prstGeom prst="rect">
            <a:avLst/>
          </a:prstGeom>
        </p:spPr>
      </p:pic>
      <p:sp>
        <p:nvSpPr>
          <p:cNvPr id="14" name="ZoneTexte 13">
            <a:extLst>
              <a:ext uri="{FF2B5EF4-FFF2-40B4-BE49-F238E27FC236}">
                <a16:creationId xmlns:a16="http://schemas.microsoft.com/office/drawing/2014/main" id="{EF10F5B3-2E3E-F9CC-DB10-A9E631BC3B93}"/>
              </a:ext>
            </a:extLst>
          </p:cNvPr>
          <p:cNvSpPr txBox="1"/>
          <p:nvPr/>
        </p:nvSpPr>
        <p:spPr>
          <a:xfrm>
            <a:off x="548642" y="5765800"/>
            <a:ext cx="3426516" cy="646331"/>
          </a:xfrm>
          <a:prstGeom prst="rect">
            <a:avLst/>
          </a:prstGeom>
          <a:noFill/>
        </p:spPr>
        <p:txBody>
          <a:bodyPr wrap="square" rtlCol="0">
            <a:spAutoFit/>
          </a:bodyPr>
          <a:lstStyle/>
          <a:p>
            <a:pPr algn="ctr"/>
            <a:r>
              <a:rPr lang="fr-FR" b="1"/>
              <a:t>Dashboard IASO montrant les zones où la vaccination se mène</a:t>
            </a:r>
          </a:p>
        </p:txBody>
      </p:sp>
      <p:sp>
        <p:nvSpPr>
          <p:cNvPr id="15" name="ZoneTexte 14">
            <a:extLst>
              <a:ext uri="{FF2B5EF4-FFF2-40B4-BE49-F238E27FC236}">
                <a16:creationId xmlns:a16="http://schemas.microsoft.com/office/drawing/2014/main" id="{FA18EEF2-10D3-5F48-661E-54807A434899}"/>
              </a:ext>
            </a:extLst>
          </p:cNvPr>
          <p:cNvSpPr txBox="1"/>
          <p:nvPr/>
        </p:nvSpPr>
        <p:spPr>
          <a:xfrm>
            <a:off x="6694813" y="5100935"/>
            <a:ext cx="3027153" cy="646331"/>
          </a:xfrm>
          <a:prstGeom prst="rect">
            <a:avLst/>
          </a:prstGeom>
          <a:noFill/>
        </p:spPr>
        <p:txBody>
          <a:bodyPr wrap="square" rtlCol="0">
            <a:spAutoFit/>
          </a:bodyPr>
          <a:lstStyle/>
          <a:p>
            <a:pPr algn="ctr"/>
            <a:r>
              <a:rPr lang="fr-FR" b="1"/>
              <a:t>Dashboard de suivi de la couverture vaccinale</a:t>
            </a:r>
          </a:p>
        </p:txBody>
      </p:sp>
    </p:spTree>
    <p:extLst>
      <p:ext uri="{BB962C8B-B14F-4D97-AF65-F5344CB8AC3E}">
        <p14:creationId xmlns:p14="http://schemas.microsoft.com/office/powerpoint/2010/main" val="20269700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9219EC-364B-A3CD-B8BB-A715AFAE0F21}"/>
              </a:ext>
            </a:extLst>
          </p:cNvPr>
          <p:cNvSpPr>
            <a:spLocks noGrp="1"/>
          </p:cNvSpPr>
          <p:nvPr>
            <p:ph type="title"/>
          </p:nvPr>
        </p:nvSpPr>
        <p:spPr/>
        <p:txBody>
          <a:bodyPr>
            <a:normAutofit/>
          </a:bodyPr>
          <a:lstStyle/>
          <a:p>
            <a:pPr lvl="0">
              <a:lnSpc>
                <a:spcPct val="100000"/>
              </a:lnSpc>
            </a:pPr>
            <a:r>
              <a:rPr lang="fr-FR" sz="2800">
                <a:solidFill>
                  <a:schemeClr val="accent4"/>
                </a:solidFill>
              </a:rPr>
              <a:t>Forces &amp; Faiblesses</a:t>
            </a:r>
            <a:endParaRPr lang="en-US" sz="2800" noProof="0">
              <a:solidFill>
                <a:schemeClr val="accent4"/>
              </a:solidFill>
            </a:endParaRPr>
          </a:p>
        </p:txBody>
      </p:sp>
      <p:sp>
        <p:nvSpPr>
          <p:cNvPr id="4" name="Espace réservé du numéro de diapositive 3">
            <a:extLst>
              <a:ext uri="{FF2B5EF4-FFF2-40B4-BE49-F238E27FC236}">
                <a16:creationId xmlns:a16="http://schemas.microsoft.com/office/drawing/2014/main" id="{E5B15F14-931E-F96D-71B6-D77F5330E2AB}"/>
              </a:ext>
            </a:extLst>
          </p:cNvPr>
          <p:cNvSpPr>
            <a:spLocks noGrp="1"/>
          </p:cNvSpPr>
          <p:nvPr>
            <p:ph type="sldNum" sz="quarter" idx="15"/>
          </p:nvPr>
        </p:nvSpPr>
        <p:spPr/>
        <p:txBody>
          <a:bodyPr/>
          <a:lstStyle/>
          <a:p>
            <a:fld id="{31926C06-7B81-A449-8A9E-FA2C54DC00E5}" type="slidenum">
              <a:rPr lang="fr-FR" smtClean="0"/>
              <a:pPr/>
              <a:t>7</a:t>
            </a:fld>
            <a:endParaRPr lang="fr-FR"/>
          </a:p>
        </p:txBody>
      </p:sp>
      <p:sp>
        <p:nvSpPr>
          <p:cNvPr id="3" name="Espace réservé du texte 2">
            <a:extLst>
              <a:ext uri="{FF2B5EF4-FFF2-40B4-BE49-F238E27FC236}">
                <a16:creationId xmlns:a16="http://schemas.microsoft.com/office/drawing/2014/main" id="{FFB11201-CD09-1332-BB9A-777B81A47BF8}"/>
              </a:ext>
            </a:extLst>
          </p:cNvPr>
          <p:cNvSpPr>
            <a:spLocks noGrp="1"/>
          </p:cNvSpPr>
          <p:nvPr>
            <p:ph type="body" sz="quarter" idx="19"/>
          </p:nvPr>
        </p:nvSpPr>
        <p:spPr/>
        <p:txBody>
          <a:bodyPr/>
          <a:lstStyle/>
          <a:p>
            <a:r>
              <a:rPr lang="fr-FR"/>
              <a:t>Forces</a:t>
            </a:r>
          </a:p>
        </p:txBody>
      </p:sp>
      <p:sp>
        <p:nvSpPr>
          <p:cNvPr id="5" name="Espace réservé du texte 4">
            <a:extLst>
              <a:ext uri="{FF2B5EF4-FFF2-40B4-BE49-F238E27FC236}">
                <a16:creationId xmlns:a16="http://schemas.microsoft.com/office/drawing/2014/main" id="{F8224E11-0E48-435E-5C77-6AAEE0F2B7F0}"/>
              </a:ext>
            </a:extLst>
          </p:cNvPr>
          <p:cNvSpPr>
            <a:spLocks noGrp="1"/>
          </p:cNvSpPr>
          <p:nvPr>
            <p:ph type="body" sz="quarter" idx="20"/>
          </p:nvPr>
        </p:nvSpPr>
        <p:spPr/>
        <p:txBody>
          <a:bodyPr/>
          <a:lstStyle/>
          <a:p>
            <a:r>
              <a:rPr lang="fr-CM" b="1"/>
              <a:t>Maitrise des zones où la vaccination se mème</a:t>
            </a:r>
          </a:p>
          <a:p>
            <a:r>
              <a:rPr lang="fr-CM" b="1"/>
              <a:t>Suivi de la couverture vaccinale</a:t>
            </a:r>
          </a:p>
          <a:p>
            <a:r>
              <a:rPr lang="fr-CM" b="1"/>
              <a:t>Évaluation de l'efficacité des campagnes</a:t>
            </a:r>
          </a:p>
          <a:p>
            <a:r>
              <a:rPr lang="fr-CM" b="1"/>
              <a:t>Amélioration de la gestion des stocks</a:t>
            </a:r>
          </a:p>
          <a:p>
            <a:r>
              <a:rPr lang="fr-CM" b="1"/>
              <a:t>Identification des populations à risque</a:t>
            </a:r>
          </a:p>
          <a:p>
            <a:r>
              <a:rPr lang="fr-CM" b="1"/>
              <a:t>Recherche et développement</a:t>
            </a:r>
            <a:endParaRPr lang="fr-FR" b="0"/>
          </a:p>
        </p:txBody>
      </p:sp>
      <p:sp>
        <p:nvSpPr>
          <p:cNvPr id="6" name="Espace réservé du texte 5">
            <a:extLst>
              <a:ext uri="{FF2B5EF4-FFF2-40B4-BE49-F238E27FC236}">
                <a16:creationId xmlns:a16="http://schemas.microsoft.com/office/drawing/2014/main" id="{547A8CA8-F598-A91C-7489-D61C6EFF8A0D}"/>
              </a:ext>
            </a:extLst>
          </p:cNvPr>
          <p:cNvSpPr>
            <a:spLocks noGrp="1"/>
          </p:cNvSpPr>
          <p:nvPr>
            <p:ph type="body" sz="quarter" idx="21"/>
          </p:nvPr>
        </p:nvSpPr>
        <p:spPr/>
        <p:txBody>
          <a:bodyPr/>
          <a:lstStyle/>
          <a:p>
            <a:r>
              <a:rPr lang="fr-FR"/>
              <a:t>Faiblesses</a:t>
            </a:r>
          </a:p>
        </p:txBody>
      </p:sp>
      <p:sp>
        <p:nvSpPr>
          <p:cNvPr id="7" name="Espace réservé du texte 6">
            <a:extLst>
              <a:ext uri="{FF2B5EF4-FFF2-40B4-BE49-F238E27FC236}">
                <a16:creationId xmlns:a16="http://schemas.microsoft.com/office/drawing/2014/main" id="{C6A1C635-5093-20AD-0602-C23DAC06E73B}"/>
              </a:ext>
            </a:extLst>
          </p:cNvPr>
          <p:cNvSpPr>
            <a:spLocks noGrp="1"/>
          </p:cNvSpPr>
          <p:nvPr>
            <p:ph type="body" sz="quarter" idx="22"/>
          </p:nvPr>
        </p:nvSpPr>
        <p:spPr/>
        <p:txBody>
          <a:bodyPr/>
          <a:lstStyle/>
          <a:p>
            <a:pPr marL="431800" indent="-239395"/>
            <a:r>
              <a:rPr lang="fr-FR"/>
              <a:t>Problème de connexion internet</a:t>
            </a:r>
          </a:p>
          <a:p>
            <a:pPr marL="431800" indent="-239395"/>
            <a:r>
              <a:rPr lang="fr-FR"/>
              <a:t>Utilisation des équipements personnel</a:t>
            </a:r>
            <a:endParaRPr lang="fr-FR">
              <a:ea typeface="Calibri"/>
              <a:cs typeface="Calibri"/>
            </a:endParaRPr>
          </a:p>
          <a:p>
            <a:pPr marL="431800" indent="-239395"/>
            <a:r>
              <a:rPr lang="fr-FR"/>
              <a:t>Nouvelle pratique qui semble être une surcharge de travail</a:t>
            </a:r>
            <a:endParaRPr lang="fr-FR">
              <a:ea typeface="Calibri"/>
              <a:cs typeface="Calibri"/>
            </a:endParaRPr>
          </a:p>
          <a:p>
            <a:pPr marL="431800" indent="-239395"/>
            <a:r>
              <a:rPr lang="fr-FR"/>
              <a:t>Pas de supervision </a:t>
            </a:r>
            <a:endParaRPr lang="fr-FR">
              <a:ea typeface="Calibri"/>
              <a:cs typeface="Calibri"/>
            </a:endParaRPr>
          </a:p>
          <a:p>
            <a:pPr marL="431800" indent="-239395"/>
            <a:r>
              <a:rPr lang="fr-FR"/>
              <a:t>La complétude n’est pas optimale car le système de </a:t>
            </a:r>
            <a:r>
              <a:rPr lang="fr-FR" err="1"/>
              <a:t>reporting</a:t>
            </a:r>
            <a:r>
              <a:rPr lang="fr-FR"/>
              <a:t> est nouveau</a:t>
            </a:r>
          </a:p>
          <a:p>
            <a:pPr marL="431800" indent="-239395"/>
            <a:r>
              <a:rPr lang="fr-FR">
                <a:ea typeface="Calibri"/>
                <a:cs typeface="Calibri"/>
              </a:rPr>
              <a:t>Le système n’est pas encore connecté au SNIS</a:t>
            </a:r>
          </a:p>
          <a:p>
            <a:pPr marL="431800" indent="-239395"/>
            <a:endParaRPr lang="fr-FR">
              <a:ea typeface="Calibri"/>
              <a:cs typeface="Calibri"/>
            </a:endParaRPr>
          </a:p>
        </p:txBody>
      </p:sp>
      <p:sp>
        <p:nvSpPr>
          <p:cNvPr id="20" name="Rectangle 19">
            <a:extLst>
              <a:ext uri="{FF2B5EF4-FFF2-40B4-BE49-F238E27FC236}">
                <a16:creationId xmlns:a16="http://schemas.microsoft.com/office/drawing/2014/main" id="{D0200BCC-5D97-9272-4B0A-7741B2F3A27C}"/>
              </a:ext>
            </a:extLst>
          </p:cNvPr>
          <p:cNvSpPr/>
          <p:nvPr/>
        </p:nvSpPr>
        <p:spPr>
          <a:xfrm>
            <a:off x="4497927" y="699425"/>
            <a:ext cx="4772025" cy="369332"/>
          </a:xfrm>
          <a:prstGeom prst="rect">
            <a:avLst/>
          </a:prstGeom>
        </p:spPr>
        <p:txBody>
          <a:bodyPr wrap="square">
            <a:spAutoFit/>
          </a:bodyPr>
          <a:lstStyle/>
          <a:p>
            <a:r>
              <a:rPr lang="en-US">
                <a:solidFill>
                  <a:schemeClr val="bg1"/>
                </a:solidFill>
              </a:rPr>
              <a:t>*</a:t>
            </a:r>
            <a:r>
              <a:rPr lang="en-US" sz="1100">
                <a:solidFill>
                  <a:schemeClr val="bg1"/>
                </a:solidFill>
              </a:rPr>
              <a:t>IRMMA : Identify – Reach – Monitor – Measure – Advocate</a:t>
            </a:r>
          </a:p>
        </p:txBody>
      </p:sp>
    </p:spTree>
    <p:extLst>
      <p:ext uri="{BB962C8B-B14F-4D97-AF65-F5344CB8AC3E}">
        <p14:creationId xmlns:p14="http://schemas.microsoft.com/office/powerpoint/2010/main" val="3017058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305AA706-968A-E5B2-FA39-A8173B357266}"/>
              </a:ext>
            </a:extLst>
          </p:cNvPr>
          <p:cNvSpPr>
            <a:spLocks noGrp="1"/>
          </p:cNvSpPr>
          <p:nvPr>
            <p:ph idx="1"/>
          </p:nvPr>
        </p:nvSpPr>
        <p:spPr>
          <a:xfrm>
            <a:off x="672000" y="3614573"/>
            <a:ext cx="10848000" cy="2496671"/>
          </a:xfrm>
        </p:spPr>
        <p:txBody>
          <a:bodyPr/>
          <a:lstStyle/>
          <a:p>
            <a:pPr marL="380365" indent="-380365"/>
            <a:r>
              <a:rPr lang="fr-FR"/>
              <a:t>Une bonne structure de gouvernance pour gérer le projet permet de fédérer la vision pour une intégration directe dans le SNIS, car le projet va au-delà du PEV et s’intègre dans le plan de santé numérique du MINSANTE</a:t>
            </a:r>
          </a:p>
          <a:p>
            <a:pPr marL="380365" indent="-380365"/>
            <a:endParaRPr lang="fr-FR">
              <a:ea typeface="Calibri"/>
              <a:cs typeface="Calibri"/>
            </a:endParaRPr>
          </a:p>
        </p:txBody>
      </p:sp>
      <p:sp>
        <p:nvSpPr>
          <p:cNvPr id="5" name="Espace réservé du texte 4">
            <a:extLst>
              <a:ext uri="{FF2B5EF4-FFF2-40B4-BE49-F238E27FC236}">
                <a16:creationId xmlns:a16="http://schemas.microsoft.com/office/drawing/2014/main" id="{681E9C36-CAC0-FCF1-67E6-9FD2BA89028B}"/>
              </a:ext>
            </a:extLst>
          </p:cNvPr>
          <p:cNvSpPr>
            <a:spLocks noGrp="1"/>
          </p:cNvSpPr>
          <p:nvPr>
            <p:ph type="body" sz="quarter" idx="13"/>
          </p:nvPr>
        </p:nvSpPr>
        <p:spPr>
          <a:xfrm>
            <a:off x="672000" y="1206588"/>
            <a:ext cx="10848000" cy="2059693"/>
          </a:xfrm>
        </p:spPr>
        <p:txBody>
          <a:bodyPr/>
          <a:lstStyle/>
          <a:p>
            <a:r>
              <a:rPr lang="fr-FR"/>
              <a:t>Intégrer la saisie de données par séance comme un processus intégrale d’une séance de vaccination dans les documents normatifs du pays (Normes et standards) et former les FOSA lors de la vaccination en pratique</a:t>
            </a:r>
          </a:p>
        </p:txBody>
      </p:sp>
      <p:sp>
        <p:nvSpPr>
          <p:cNvPr id="4" name="Espace réservé du numéro de diapositive 3">
            <a:extLst>
              <a:ext uri="{FF2B5EF4-FFF2-40B4-BE49-F238E27FC236}">
                <a16:creationId xmlns:a16="http://schemas.microsoft.com/office/drawing/2014/main" id="{E5B15F14-931E-F96D-71B6-D77F5330E2AB}"/>
              </a:ext>
            </a:extLst>
          </p:cNvPr>
          <p:cNvSpPr>
            <a:spLocks noGrp="1"/>
          </p:cNvSpPr>
          <p:nvPr>
            <p:ph type="sldNum" sz="quarter" idx="15"/>
          </p:nvPr>
        </p:nvSpPr>
        <p:spPr/>
        <p:txBody>
          <a:bodyPr/>
          <a:lstStyle/>
          <a:p>
            <a:fld id="{31926C06-7B81-A449-8A9E-FA2C54DC00E5}" type="slidenum">
              <a:rPr lang="fr-FR" smtClean="0"/>
              <a:pPr/>
              <a:t>8</a:t>
            </a:fld>
            <a:endParaRPr lang="fr-FR"/>
          </a:p>
        </p:txBody>
      </p:sp>
      <p:sp>
        <p:nvSpPr>
          <p:cNvPr id="2" name="Titre 1">
            <a:extLst>
              <a:ext uri="{FF2B5EF4-FFF2-40B4-BE49-F238E27FC236}">
                <a16:creationId xmlns:a16="http://schemas.microsoft.com/office/drawing/2014/main" id="{EA9219EC-364B-A3CD-B8BB-A715AFAE0F21}"/>
              </a:ext>
            </a:extLst>
          </p:cNvPr>
          <p:cNvSpPr>
            <a:spLocks noGrp="1"/>
          </p:cNvSpPr>
          <p:nvPr>
            <p:ph type="title"/>
          </p:nvPr>
        </p:nvSpPr>
        <p:spPr/>
        <p:txBody>
          <a:bodyPr>
            <a:noAutofit/>
          </a:bodyPr>
          <a:lstStyle/>
          <a:p>
            <a:pPr>
              <a:lnSpc>
                <a:spcPct val="100000"/>
              </a:lnSpc>
            </a:pPr>
            <a:r>
              <a:rPr lang="fr-FR" sz="2400">
                <a:solidFill>
                  <a:schemeClr val="accent4"/>
                </a:solidFill>
              </a:rPr>
              <a:t>Leçons tirées &amp; Recommandations</a:t>
            </a:r>
            <a:endParaRPr lang="en-US" sz="2400" noProof="0">
              <a:solidFill>
                <a:schemeClr val="accent4"/>
              </a:solidFill>
            </a:endParaRPr>
          </a:p>
        </p:txBody>
      </p:sp>
      <p:sp>
        <p:nvSpPr>
          <p:cNvPr id="20" name="Rectangle 19">
            <a:extLst>
              <a:ext uri="{FF2B5EF4-FFF2-40B4-BE49-F238E27FC236}">
                <a16:creationId xmlns:a16="http://schemas.microsoft.com/office/drawing/2014/main" id="{D0200BCC-5D97-9272-4B0A-7741B2F3A27C}"/>
              </a:ext>
            </a:extLst>
          </p:cNvPr>
          <p:cNvSpPr/>
          <p:nvPr/>
        </p:nvSpPr>
        <p:spPr>
          <a:xfrm>
            <a:off x="4497927" y="699425"/>
            <a:ext cx="4772025" cy="369332"/>
          </a:xfrm>
          <a:prstGeom prst="rect">
            <a:avLst/>
          </a:prstGeom>
        </p:spPr>
        <p:txBody>
          <a:bodyPr wrap="square">
            <a:spAutoFit/>
          </a:bodyPr>
          <a:lstStyle/>
          <a:p>
            <a:r>
              <a:rPr lang="en-US">
                <a:solidFill>
                  <a:schemeClr val="bg1"/>
                </a:solidFill>
              </a:rPr>
              <a:t>*</a:t>
            </a:r>
            <a:r>
              <a:rPr lang="en-US" sz="1100">
                <a:solidFill>
                  <a:schemeClr val="bg1"/>
                </a:solidFill>
              </a:rPr>
              <a:t>IRMMA : Identify – Reach – Monitor – Measure – Advocate</a:t>
            </a:r>
          </a:p>
        </p:txBody>
      </p:sp>
    </p:spTree>
    <p:extLst>
      <p:ext uri="{BB962C8B-B14F-4D97-AF65-F5344CB8AC3E}">
        <p14:creationId xmlns:p14="http://schemas.microsoft.com/office/powerpoint/2010/main" val="17612207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E71F774D-B343-C6B4-938A-B207690C8CAA}"/>
              </a:ext>
            </a:extLst>
          </p:cNvPr>
          <p:cNvSpPr>
            <a:spLocks noGrp="1"/>
          </p:cNvSpPr>
          <p:nvPr>
            <p:ph type="sldNum" sz="quarter" idx="4294967295"/>
          </p:nvPr>
        </p:nvSpPr>
        <p:spPr>
          <a:xfrm>
            <a:off x="11699875" y="6445250"/>
            <a:ext cx="492125" cy="365125"/>
          </a:xfrm>
        </p:spPr>
        <p:txBody>
          <a:bodyPr/>
          <a:lstStyle/>
          <a:p>
            <a:fld id="{31926C06-7B81-A449-8A9E-FA2C54DC00E5}" type="slidenum">
              <a:rPr lang="fr-FR" smtClean="0"/>
              <a:pPr/>
              <a:t>9</a:t>
            </a:fld>
            <a:endParaRPr lang="fr-FR"/>
          </a:p>
        </p:txBody>
      </p:sp>
      <p:pic>
        <p:nvPicPr>
          <p:cNvPr id="5" name="Espace réservé pour une image  4">
            <a:extLst>
              <a:ext uri="{FF2B5EF4-FFF2-40B4-BE49-F238E27FC236}">
                <a16:creationId xmlns:a16="http://schemas.microsoft.com/office/drawing/2014/main" id="{720F8E3F-5A41-4B34-D5BD-6CE5E4468346}"/>
              </a:ext>
            </a:extLst>
          </p:cNvPr>
          <p:cNvPicPr>
            <a:picLocks noGrp="1" noChangeAspect="1"/>
          </p:cNvPicPr>
          <p:nvPr>
            <p:ph type="pic" sz="quarter" idx="17"/>
          </p:nvPr>
        </p:nvPicPr>
        <p:blipFill rotWithShape="1">
          <a:blip r:embed="rId2"/>
          <a:srcRect l="4760" t="8460" r="-435" b="10544"/>
          <a:stretch/>
        </p:blipFill>
        <p:spPr>
          <a:xfrm>
            <a:off x="364157" y="816265"/>
            <a:ext cx="4709648" cy="4935538"/>
          </a:xfrm>
        </p:spPr>
      </p:pic>
    </p:spTree>
    <p:extLst>
      <p:ext uri="{BB962C8B-B14F-4D97-AF65-F5344CB8AC3E}">
        <p14:creationId xmlns:p14="http://schemas.microsoft.com/office/powerpoint/2010/main" val="25981064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vi ppt template_blank 16-9">
  <a:themeElements>
    <a:clrScheme name="GAVI PRIMARY COLOURS">
      <a:dk1>
        <a:srgbClr val="343434"/>
      </a:dk1>
      <a:lt1>
        <a:srgbClr val="FFFFFF"/>
      </a:lt1>
      <a:dk2>
        <a:srgbClr val="81B900"/>
      </a:dk2>
      <a:lt2>
        <a:srgbClr val="878787"/>
      </a:lt2>
      <a:accent1>
        <a:srgbClr val="005CB9"/>
      </a:accent1>
      <a:accent2>
        <a:srgbClr val="00A1DF"/>
      </a:accent2>
      <a:accent3>
        <a:srgbClr val="95D600"/>
      </a:accent3>
      <a:accent4>
        <a:srgbClr val="A51890"/>
      </a:accent4>
      <a:accent5>
        <a:srgbClr val="CE0F69"/>
      </a:accent5>
      <a:accent6>
        <a:srgbClr val="D50032"/>
      </a:accent6>
      <a:hlink>
        <a:srgbClr val="343434"/>
      </a:hlink>
      <a:folHlink>
        <a:srgbClr val="343434"/>
      </a:folHlink>
    </a:clrScheme>
    <a:fontScheme name="Office 2007 - 2010">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HOLERA">
      <a:srgbClr val="AF5C37"/>
    </a:custClr>
    <a:custClr name="HEPB">
      <a:srgbClr val="D50032"/>
    </a:custClr>
    <a:custClr name="HPV">
      <a:srgbClr val="F59BBB"/>
    </a:custClr>
    <a:custClr name="IPV INJECTABLE POLIO">
      <a:srgbClr val="CEDC00"/>
    </a:custClr>
    <a:custClr name="JAPANESE ENCEPHALITIS">
      <a:srgbClr val="B288B9"/>
    </a:custClr>
    <a:custClr name="MEASLES">
      <a:srgbClr val="41B6E6"/>
    </a:custClr>
    <a:custClr name="MEASLES 2 DOSE">
      <a:srgbClr val="0097A9"/>
    </a:custClr>
    <a:custClr name="MEASLES RUBELLA">
      <a:srgbClr val="005A70"/>
    </a:custClr>
    <a:custClr name="MENINGITIS A">
      <a:srgbClr val="009639"/>
    </a:custClr>
    <a:custClr name="PENTA">
      <a:srgbClr val="653279"/>
    </a:custClr>
    <a:custClr name="PNEUMO">
      <a:srgbClr val="0033A0"/>
    </a:custClr>
    <a:custClr name="ROTAVIRUS">
      <a:srgbClr val="D86018"/>
    </a:custClr>
    <a:custClr name="YELLOW FEVER">
      <a:srgbClr val="EAAA00"/>
    </a:custClr>
    <a:custClr name="DENGUE">
      <a:srgbClr val="C6C6C5"/>
    </a:custClr>
    <a:custClr name="MALARIA">
      <a:srgbClr val="A7A7A7"/>
    </a:custClr>
    <a:custClr name="MATERNAL FLU">
      <a:srgbClr val="878786"/>
    </a:custClr>
    <a:custClr name="RABIES">
      <a:srgbClr val="636362"/>
    </a:custClr>
  </a:custClrLst>
  <a:extLst>
    <a:ext uri="{05A4C25C-085E-4340-85A3-A5531E510DB2}">
      <thm15:themeFamily xmlns:thm15="http://schemas.microsoft.com/office/thememl/2012/main" name="Gavi ppt template_blank_16-9" id="{DEBBE98C-C3E5-984B-BC10-1E92A94DEDF8}" vid="{2886559F-29FB-714C-86BD-EB166E1AAC82}"/>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4A34450A0BB5A408057FED69A12C11E" ma:contentTypeVersion="18" ma:contentTypeDescription="Crée un document." ma:contentTypeScope="" ma:versionID="9db7a229e7ca60251e4a5eaffa1a4dfe">
  <xsd:schema xmlns:xsd="http://www.w3.org/2001/XMLSchema" xmlns:xs="http://www.w3.org/2001/XMLSchema" xmlns:p="http://schemas.microsoft.com/office/2006/metadata/properties" xmlns:ns2="72a1044c-19e7-4fe7-ae5d-508b166f9df9" xmlns:ns3="5c833224-983b-4147-801e-1f0478cab871" targetNamespace="http://schemas.microsoft.com/office/2006/metadata/properties" ma:root="true" ma:fieldsID="1d28089975d4e1fa5270cf7c624c6640" ns2:_="" ns3:_="">
    <xsd:import namespace="72a1044c-19e7-4fe7-ae5d-508b166f9df9"/>
    <xsd:import namespace="5c833224-983b-4147-801e-1f0478cab87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3:TaxCatchAll" minOccurs="0"/>
                <xsd:element ref="ns2:MediaServiceOCR" minOccurs="0"/>
                <xsd:element ref="ns2:MediaServiceGenerationTime" minOccurs="0"/>
                <xsd:element ref="ns2:MediaServiceEventHashCode"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a1044c-19e7-4fe7-ae5d-508b166f9d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Balises d’images" ma:readOnly="false" ma:fieldId="{5cf76f15-5ced-4ddc-b409-7134ff3c332f}" ma:taxonomyMulti="true" ma:sspId="77a92887-d5ea-4af9-a0e3-79d08724ea5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833224-983b-4147-801e-1f0478cab871"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element name="TaxCatchAll" ma:index="16" nillable="true" ma:displayName="Taxonomy Catch All Column" ma:hidden="true" ma:list="{eaec1551-1375-4401-8970-4de58f79c3d8}" ma:internalName="TaxCatchAll" ma:showField="CatchAllData" ma:web="5c833224-983b-4147-801e-1f0478cab87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2a1044c-19e7-4fe7-ae5d-508b166f9df9">
      <Terms xmlns="http://schemas.microsoft.com/office/infopath/2007/PartnerControls"/>
    </lcf76f155ced4ddcb4097134ff3c332f>
    <TaxCatchAll xmlns="5c833224-983b-4147-801e-1f0478cab871" xsi:nil="true"/>
  </documentManagement>
</p:properties>
</file>

<file path=customXml/itemProps1.xml><?xml version="1.0" encoding="utf-8"?>
<ds:datastoreItem xmlns:ds="http://schemas.openxmlformats.org/officeDocument/2006/customXml" ds:itemID="{E06D1FBF-BC18-416F-9F46-ED798B69FE76}">
  <ds:schemaRefs>
    <ds:schemaRef ds:uri="5c833224-983b-4147-801e-1f0478cab871"/>
    <ds:schemaRef ds:uri="72a1044c-19e7-4fe7-ae5d-508b166f9d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AEC51EB-11A7-40FE-8C32-5780BAF91304}">
  <ds:schemaRefs>
    <ds:schemaRef ds:uri="http://schemas.microsoft.com/sharepoint/v3/contenttype/forms"/>
  </ds:schemaRefs>
</ds:datastoreItem>
</file>

<file path=customXml/itemProps3.xml><?xml version="1.0" encoding="utf-8"?>
<ds:datastoreItem xmlns:ds="http://schemas.openxmlformats.org/officeDocument/2006/customXml" ds:itemID="{579AC463-ED1C-43AD-BF41-B11591272C5E}">
  <ds:schemaRefs>
    <ds:schemaRef ds:uri="5c833224-983b-4147-801e-1f0478cab871"/>
    <ds:schemaRef ds:uri="72a1044c-19e7-4fe7-ae5d-508b166f9df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9</Slides>
  <Notes>3</Notes>
  <HiddenSlides>0</HiddenSlide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Gavi ppt template_blank 16-9</vt:lpstr>
      <vt:lpstr>PowerPoint Presentation</vt:lpstr>
      <vt:lpstr>Plan</vt:lpstr>
      <vt:lpstr>Justificatif</vt:lpstr>
      <vt:lpstr>Activités menées</vt:lpstr>
      <vt:lpstr>Le flux de données</vt:lpstr>
      <vt:lpstr>Résultats</vt:lpstr>
      <vt:lpstr>Forces &amp; Faiblesses</vt:lpstr>
      <vt:lpstr>Leçons tirées &amp; Recommanda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 contrôle des épidémies de rougeole en Afrique Centrale (Défis, Actions concrètes pour prévenir, détecter et riposter en temps opportun afin de contrôler les épidémies;  chronogramme de mise en œuvre des actions)</dc:title>
  <dc:creator>Shalom, TCHOKFE NDOULA</dc:creator>
  <cp:revision>1</cp:revision>
  <dcterms:created xsi:type="dcterms:W3CDTF">2022-05-21T09:33:54Z</dcterms:created>
  <dcterms:modified xsi:type="dcterms:W3CDTF">2024-09-09T18:5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A34450A0BB5A408057FED69A12C11E</vt:lpwstr>
  </property>
  <property fmtid="{D5CDD505-2E9C-101B-9397-08002B2CF9AE}" pid="3" name="MediaServiceImageTags">
    <vt:lpwstr/>
  </property>
</Properties>
</file>